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1BB4AEC8-F39E-4DAD-901D-6B0AEF8EF03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640000000000001</c:v>
                </c:pt>
                <c:pt idx="3">
                  <c:v>0.1154</c:v>
                </c:pt>
                <c:pt idx="4">
                  <c:v>0.4264</c:v>
                </c:pt>
                <c:pt idx="5">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640000000000001</c:v>
                </c:pt>
                <c:pt idx="3">
                  <c:v>0.1154</c:v>
                </c:pt>
                <c:pt idx="4">
                  <c:v>0.4264</c:v>
                </c:pt>
                <c:pt idx="5">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4142823892367</c:v>
                </c:pt>
                <c:pt idx="5">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7170902187972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758047945724258E-4</c:v>
                </c:pt>
                <c:pt idx="4">
                  <c:v>2.501885167891181E-2</c:v>
                </c:pt>
                <c:pt idx="5">
                  <c:v>0.13605110196595491</c:v>
                </c:pt>
                <c:pt idx="6">
                  <c:v>2.15412550676011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0.1184799546624861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45560626076925</c:v>
                </c:pt>
                <c:pt idx="5">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2125005601838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1.39846008906877E-4</c:v>
                </c:pt>
                <c:pt idx="4">
                  <c:v>3.1881979303787146E-2</c:v>
                </c:pt>
                <c:pt idx="5">
                  <c:v>0.12156965908542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260000000000002</c:v>
                </c:pt>
                <c:pt idx="2">
                  <c:v>0.20860000000000001</c:v>
                </c:pt>
                <c:pt idx="3">
                  <c:v>0.13139999999999999</c:v>
                </c:pt>
                <c:pt idx="4">
                  <c:v>0.25600000000000001</c:v>
                </c:pt>
                <c:pt idx="5">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4008489523505575E-3</c:v>
                </c:pt>
                <c:pt idx="2">
                  <c:v>3.50331077300279E-2</c:v>
                </c:pt>
                <c:pt idx="3">
                  <c:v>8.9897595634951935E-2</c:v>
                </c:pt>
                <c:pt idx="4">
                  <c:v>4.4531214209419481E-2</c:v>
                </c:pt>
                <c:pt idx="5">
                  <c:v>7.18236548190515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9.2319754154723752E-3</c:v>
                </c:pt>
                <c:pt idx="2">
                  <c:v>8.4636514937475538E-2</c:v>
                </c:pt>
                <c:pt idx="3">
                  <c:v>3.6302405295432915E-3</c:v>
                </c:pt>
                <c:pt idx="4">
                  <c:v>7.7622155573860915E-2</c:v>
                </c:pt>
                <c:pt idx="5">
                  <c:v>1.01307663290237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3.2379405637028937E-3</c:v>
                </c:pt>
                <c:pt idx="3">
                  <c:v>5.3555300874040423E-8</c:v>
                </c:pt>
                <c:pt idx="4">
                  <c:v>6.056982090355767E-2</c:v>
                </c:pt>
                <c:pt idx="5">
                  <c:v>3.80482637822983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45</c:v>
                </c:pt>
                <c:pt idx="2">
                  <c:v>0.21460000000000001</c:v>
                </c:pt>
                <c:pt idx="3">
                  <c:v>2.6700000000000002E-2</c:v>
                </c:pt>
                <c:pt idx="4">
                  <c:v>0.26690000000000003</c:v>
                </c:pt>
                <c:pt idx="5">
                  <c:v>5.6500000000000002E-2</c:v>
                </c:pt>
                <c:pt idx="6">
                  <c:v>8.0000000000000004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09342891010774E-7</c:v>
                </c:pt>
                <c:pt idx="4">
                  <c:v>4.4998990619535627E-2</c:v>
                </c:pt>
                <c:pt idx="5">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5043000698322E-3</c:v>
                </c:pt>
                <c:pt idx="4">
                  <c:v>5.5698171878387624E-2</c:v>
                </c:pt>
                <c:pt idx="5">
                  <c:v>2.03247868818876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50000000000002</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9.9025390559011175E-2</c:v>
                </c:pt>
                <c:pt idx="2">
                  <c:v>6.450832288352E-2</c:v>
                </c:pt>
                <c:pt idx="3">
                  <c:v>2.7784252533189901E-2</c:v>
                </c:pt>
                <c:pt idx="4">
                  <c:v>9.8743693851477465E-2</c:v>
                </c:pt>
                <c:pt idx="5">
                  <c:v>6.02141315008691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9450471560104646E-2</c:v>
                </c:pt>
                <c:pt idx="4">
                  <c:v>7.7421598704224021E-2</c:v>
                </c:pt>
                <c:pt idx="5">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5.7323514538482452E-2</c:v>
                </c:pt>
                <c:pt idx="5">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383021559055119E-3</c:v>
                </c:pt>
                <c:pt idx="3">
                  <c:v>2.9901742105073121E-3</c:v>
                </c:pt>
                <c:pt idx="4">
                  <c:v>1.1047615769709744E-2</c:v>
                </c:pt>
                <c:pt idx="5">
                  <c:v>5.48934794085132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12802279375755E-4</c:v>
                </c:pt>
                <c:pt idx="1">
                  <c:v>1.7080493835013619E-2</c:v>
                </c:pt>
                <c:pt idx="2">
                  <c:v>5.4463250658915281E-2</c:v>
                </c:pt>
                <c:pt idx="3">
                  <c:v>8.3948527854730975E-2</c:v>
                </c:pt>
                <c:pt idx="4">
                  <c:v>0.16225500403612425</c:v>
                </c:pt>
                <c:pt idx="5">
                  <c:v>7.7915990591168938E-2</c:v>
                </c:pt>
                <c:pt idx="6">
                  <c:v>6.932612458436772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75936610695815E-6</c:v>
                </c:pt>
                <c:pt idx="1">
                  <c:v>6.1089782157859772E-5</c:v>
                </c:pt>
                <c:pt idx="2">
                  <c:v>6.1011258102854236E-3</c:v>
                </c:pt>
                <c:pt idx="3">
                  <c:v>8.9308936733929548E-3</c:v>
                </c:pt>
                <c:pt idx="4">
                  <c:v>2.8508604951157795E-2</c:v>
                </c:pt>
                <c:pt idx="5">
                  <c:v>1.6102999431494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85942817882599E-3</c:v>
                </c:pt>
                <c:pt idx="2">
                  <c:v>1.0331118287193965E-2</c:v>
                </c:pt>
                <c:pt idx="3">
                  <c:v>2.2866555530310147E-2</c:v>
                </c:pt>
                <c:pt idx="4">
                  <c:v>1.4990139612260421E-2</c:v>
                </c:pt>
                <c:pt idx="5">
                  <c:v>1.73430042040699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54951654468573E-3</c:v>
                </c:pt>
                <c:pt idx="1">
                  <c:v>1.8964615476413014E-2</c:v>
                </c:pt>
                <c:pt idx="2">
                  <c:v>5.0707009994501E-2</c:v>
                </c:pt>
                <c:pt idx="3">
                  <c:v>0.13924027543177814</c:v>
                </c:pt>
                <c:pt idx="4">
                  <c:v>0.1947988912703465</c:v>
                </c:pt>
                <c:pt idx="5">
                  <c:v>7.1861080470364075E-2</c:v>
                </c:pt>
                <c:pt idx="6">
                  <c:v>7.300658067215338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302858749631E-2</c:v>
                </c:pt>
                <c:pt idx="2">
                  <c:v>4.1117522494445613E-2</c:v>
                </c:pt>
                <c:pt idx="3">
                  <c:v>8.3971777085328436E-2</c:v>
                </c:pt>
                <c:pt idx="4">
                  <c:v>0.14385126804842238</c:v>
                </c:pt>
                <c:pt idx="5">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29158664722241E-2</c:v>
                </c:pt>
                <c:pt idx="4">
                  <c:v>0.11193535863478145</c:v>
                </c:pt>
                <c:pt idx="5">
                  <c:v>8.182195041637719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589538061579E-2</c:v>
                </c:pt>
                <c:pt idx="3">
                  <c:v>4.214852642763222E-2</c:v>
                </c:pt>
                <c:pt idx="4">
                  <c:v>7.7496752456252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543595048637E-3</c:v>
                </c:pt>
                <c:pt idx="2">
                  <c:v>1.9756163549747491E-5</c:v>
                </c:pt>
                <c:pt idx="3">
                  <c:v>9.8599379716009808E-2</c:v>
                </c:pt>
                <c:pt idx="4">
                  <c:v>0.21892285979206175</c:v>
                </c:pt>
                <c:pt idx="5">
                  <c:v>5.4595545311720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0.11199570821874057</c:v>
                </c:pt>
                <c:pt idx="4">
                  <c:v>0.2498066612051415</c:v>
                </c:pt>
                <c:pt idx="5">
                  <c:v>5.82949828503433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79737499277604E-3</c:v>
                </c:pt>
                <c:pt idx="2">
                  <c:v>6.8172638867039656E-2</c:v>
                </c:pt>
                <c:pt idx="3">
                  <c:v>9.3501410730676054E-2</c:v>
                </c:pt>
                <c:pt idx="4">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07981753840551E-2</c:v>
                </c:pt>
                <c:pt idx="4">
                  <c:v>9.6429656875496123E-2</c:v>
                </c:pt>
                <c:pt idx="5">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6411951396942636E-2</c:v>
                </c:pt>
                <c:pt idx="4">
                  <c:v>8.6254632221901786E-2</c:v>
                </c:pt>
                <c:pt idx="5">
                  <c:v>2.4760042330392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0023811240607637E-3</c:v>
                </c:pt>
                <c:pt idx="3">
                  <c:v>0.12664010195853267</c:v>
                </c:pt>
                <c:pt idx="4">
                  <c:v>0.21525410344457366</c:v>
                </c:pt>
                <c:pt idx="5">
                  <c:v>3.0745568875775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04943725024013E-3</c:v>
                </c:pt>
                <c:pt idx="1">
                  <c:v>5.9624245103843294E-3</c:v>
                </c:pt>
                <c:pt idx="2">
                  <c:v>6.680086969371421E-2</c:v>
                </c:pt>
                <c:pt idx="3">
                  <c:v>4.5350845154859584E-2</c:v>
                </c:pt>
                <c:pt idx="4">
                  <c:v>0.23985695548568728</c:v>
                </c:pt>
                <c:pt idx="5">
                  <c:v>0.252607695402856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66765194611072E-2</c:v>
                </c:pt>
                <c:pt idx="3">
                  <c:v>1.654314843167512E-2</c:v>
                </c:pt>
                <c:pt idx="4">
                  <c:v>3.3060433056127547E-2</c:v>
                </c:pt>
                <c:pt idx="5">
                  <c:v>4.677252486390078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73462332664182E-6</c:v>
                </c:pt>
                <c:pt idx="2">
                  <c:v>3.0774919553610828E-5</c:v>
                </c:pt>
                <c:pt idx="3">
                  <c:v>2.0286296686652133E-2</c:v>
                </c:pt>
                <c:pt idx="4">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09940784180477E-3</c:v>
                </c:pt>
                <c:pt idx="1">
                  <c:v>1.9412627453913071E-3</c:v>
                </c:pt>
                <c:pt idx="2">
                  <c:v>7.4363670252396603E-3</c:v>
                </c:pt>
                <c:pt idx="3">
                  <c:v>3.1874882233121495E-2</c:v>
                </c:pt>
                <c:pt idx="4">
                  <c:v>6.6618846106529891E-2</c:v>
                </c:pt>
                <c:pt idx="5">
                  <c:v>9.35812294194495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890000000000003</c:v>
                </c:pt>
                <c:pt idx="3">
                  <c:v>8.0799999999999997E-2</c:v>
                </c:pt>
                <c:pt idx="4">
                  <c:v>0.33789999999999998</c:v>
                </c:pt>
                <c:pt idx="5">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0.106265714145995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647638855391468E-2</c:v>
                </c:pt>
                <c:pt idx="3">
                  <c:v>4.6009955935826144E-2</c:v>
                </c:pt>
                <c:pt idx="4">
                  <c:v>0.22755458516457575</c:v>
                </c:pt>
                <c:pt idx="5">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097002897101106E-2</c:v>
                </c:pt>
                <c:pt idx="3">
                  <c:v>2.5489995312311532E-2</c:v>
                </c:pt>
                <c:pt idx="4">
                  <c:v>6.2801569934585189E-2</c:v>
                </c:pt>
                <c:pt idx="5">
                  <c:v>6.49134610257184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231530335985812E-2</c:v>
                </c:pt>
                <c:pt idx="4">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588329459832054E-3</c:v>
                </c:pt>
                <c:pt idx="1">
                  <c:v>7.8251402036527088E-4</c:v>
                </c:pt>
                <c:pt idx="2">
                  <c:v>8.7310834649557585E-3</c:v>
                </c:pt>
                <c:pt idx="3">
                  <c:v>1.4370327160874883E-2</c:v>
                </c:pt>
                <c:pt idx="4">
                  <c:v>4.9840253452017515E-2</c:v>
                </c:pt>
                <c:pt idx="5">
                  <c:v>7.79491005796572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43259965824403E-6</c:v>
                </c:pt>
                <c:pt idx="1">
                  <c:v>5.3888306250356829E-2</c:v>
                </c:pt>
                <c:pt idx="2">
                  <c:v>8.8296192507812163E-2</c:v>
                </c:pt>
                <c:pt idx="3">
                  <c:v>0.15672226016880192</c:v>
                </c:pt>
                <c:pt idx="4">
                  <c:v>7.4973433675184595E-2</c:v>
                </c:pt>
                <c:pt idx="5">
                  <c:v>1.597858474278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662929189084316E-2</c:v>
                </c:pt>
                <c:pt idx="4">
                  <c:v>6.92667399987935E-2</c:v>
                </c:pt>
                <c:pt idx="5">
                  <c:v>3.0407406750139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23174158938654E-4</c:v>
                </c:pt>
                <c:pt idx="2">
                  <c:v>7.2956265121263963E-2</c:v>
                </c:pt>
                <c:pt idx="3">
                  <c:v>3.2513423595308538E-2</c:v>
                </c:pt>
                <c:pt idx="4">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54673535397926E-2</c:v>
                </c:pt>
                <c:pt idx="1">
                  <c:v>1.3315807851434477E-2</c:v>
                </c:pt>
                <c:pt idx="2">
                  <c:v>5.4219276483958155E-2</c:v>
                </c:pt>
                <c:pt idx="3">
                  <c:v>0.21043539868256211</c:v>
                </c:pt>
                <c:pt idx="4">
                  <c:v>4.6398612307185026E-2</c:v>
                </c:pt>
                <c:pt idx="5">
                  <c:v>5.859608572570510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89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9.9930715451976682E-2</c:v>
                </c:pt>
                <c:pt idx="4">
                  <c:v>7.9599416074447649E-2</c:v>
                </c:pt>
                <c:pt idx="5">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3293554281281E-2</c:v>
                </c:pt>
                <c:pt idx="2">
                  <c:v>7.5908432690236213E-2</c:v>
                </c:pt>
                <c:pt idx="3">
                  <c:v>9.789431746896525E-2</c:v>
                </c:pt>
                <c:pt idx="4">
                  <c:v>5.8125506410302778E-2</c:v>
                </c:pt>
                <c:pt idx="5">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02211987525574E-2</c:v>
                </c:pt>
                <c:pt idx="2">
                  <c:v>5.187640607041364E-2</c:v>
                </c:pt>
                <c:pt idx="3">
                  <c:v>8.5594710039561803E-2</c:v>
                </c:pt>
                <c:pt idx="4">
                  <c:v>2.3626798950477115E-2</c:v>
                </c:pt>
                <c:pt idx="5">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205229389434692E-2</c:v>
                </c:pt>
                <c:pt idx="1">
                  <c:v>2.8224377487402518E-3</c:v>
                </c:pt>
                <c:pt idx="2">
                  <c:v>0.10166949076981972</c:v>
                </c:pt>
                <c:pt idx="3">
                  <c:v>0.17997359513886874</c:v>
                </c:pt>
                <c:pt idx="4">
                  <c:v>3.5071140479563362E-2</c:v>
                </c:pt>
                <c:pt idx="5">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21715359273144E-5</c:v>
                </c:pt>
                <c:pt idx="2">
                  <c:v>2.4224929950860924E-2</c:v>
                </c:pt>
                <c:pt idx="3">
                  <c:v>9.3783237033053315E-2</c:v>
                </c:pt>
                <c:pt idx="4">
                  <c:v>0.25137893323917554</c:v>
                </c:pt>
                <c:pt idx="5">
                  <c:v>7.8187717885577726E-2</c:v>
                </c:pt>
                <c:pt idx="6">
                  <c:v>3.80195175587074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12042230674324E-4</c:v>
                </c:pt>
                <c:pt idx="2">
                  <c:v>3.3468966263556457E-2</c:v>
                </c:pt>
                <c:pt idx="3">
                  <c:v>4.8992233294762211E-2</c:v>
                </c:pt>
                <c:pt idx="4">
                  <c:v>0.15638974953160678</c:v>
                </c:pt>
                <c:pt idx="5">
                  <c:v>8.833627784009418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0953659405658E-3</c:v>
                </c:pt>
                <c:pt idx="3">
                  <c:v>2.3546841498113261E-2</c:v>
                </c:pt>
                <c:pt idx="4">
                  <c:v>4.9812552385502723E-2</c:v>
                </c:pt>
                <c:pt idx="5">
                  <c:v>6.948265569494521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51460233273221E-3</c:v>
                </c:pt>
                <c:pt idx="3">
                  <c:v>1.6470431691622524E-2</c:v>
                </c:pt>
                <c:pt idx="4">
                  <c:v>0.1306619093315356</c:v>
                </c:pt>
                <c:pt idx="5">
                  <c:v>6.9922431898410894E-2</c:v>
                </c:pt>
                <c:pt idx="6">
                  <c:v>1.67143797369523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9.9448764407935319E-3</c:v>
                </c:pt>
                <c:pt idx="3">
                  <c:v>2.4415242697922519E-3</c:v>
                </c:pt>
                <c:pt idx="4">
                  <c:v>1.0215575661117129E-2</c:v>
                </c:pt>
                <c:pt idx="5">
                  <c:v>7.630816424470539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3869969023842E-3</c:v>
                </c:pt>
                <c:pt idx="1">
                  <c:v>2.6637470308670572E-2</c:v>
                </c:pt>
                <c:pt idx="2">
                  <c:v>5.7495939856207448E-2</c:v>
                </c:pt>
                <c:pt idx="3">
                  <c:v>0.15406163314575169</c:v>
                </c:pt>
                <c:pt idx="4">
                  <c:v>0.20453260134538415</c:v>
                </c:pt>
                <c:pt idx="5">
                  <c:v>8.69181428952777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275361005366644E-2</c:v>
                </c:pt>
                <c:pt idx="3">
                  <c:v>7.0573777903913226E-2</c:v>
                </c:pt>
                <c:pt idx="4">
                  <c:v>0.21077122139907115</c:v>
                </c:pt>
                <c:pt idx="5">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253107399629878E-2</c:v>
                </c:pt>
                <c:pt idx="3">
                  <c:v>8.8802657434521051E-2</c:v>
                </c:pt>
                <c:pt idx="4">
                  <c:v>0.1899503525949808</c:v>
                </c:pt>
                <c:pt idx="5">
                  <c:v>5.7897636301643719E-2</c:v>
                </c:pt>
                <c:pt idx="6">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352860861596125E-7</c:v>
                </c:pt>
                <c:pt idx="3">
                  <c:v>2.5092572307733631E-2</c:v>
                </c:pt>
                <c:pt idx="4">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845213709128342E-3</c:v>
                </c:pt>
                <c:pt idx="2">
                  <c:v>6.8883622324271659E-4</c:v>
                </c:pt>
                <c:pt idx="3">
                  <c:v>6.6462117870213118E-3</c:v>
                </c:pt>
                <c:pt idx="4">
                  <c:v>9.1586377754997769E-2</c:v>
                </c:pt>
                <c:pt idx="5">
                  <c:v>4.085531414955839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300000000000001</c:v>
                </c:pt>
                <c:pt idx="3">
                  <c:v>0.15</c:v>
                </c:pt>
                <c:pt idx="4">
                  <c:v>0.39340000000000003</c:v>
                </c:pt>
                <c:pt idx="5">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3389999999999999</c:v>
                </c:pt>
                <c:pt idx="4">
                  <c:v>0.45619999999999999</c:v>
                </c:pt>
                <c:pt idx="5">
                  <c:v>0.409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882166374765753E-3</c:v>
                </c:pt>
                <c:pt idx="4">
                  <c:v>9.8179375287810941E-3</c:v>
                </c:pt>
                <c:pt idx="5">
                  <c:v>8.822886993445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6285229646794974E-4</c:v>
                </c:pt>
                <c:pt idx="1">
                  <c:v>1.6259295177343681E-2</c:v>
                </c:pt>
                <c:pt idx="2">
                  <c:v>5.184475796394649E-2</c:v>
                </c:pt>
                <c:pt idx="3">
                  <c:v>7.9912437384890206E-2</c:v>
                </c:pt>
                <c:pt idx="4">
                  <c:v>0.1547515526420874</c:v>
                </c:pt>
                <c:pt idx="5">
                  <c:v>7.7033675776512989E-2</c:v>
                </c:pt>
                <c:pt idx="6">
                  <c:v>6.599305230905454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8910696928521368E-6</c:v>
                </c:pt>
                <c:pt idx="1">
                  <c:v>5.8152698043667162E-5</c:v>
                </c:pt>
                <c:pt idx="2">
                  <c:v>5.8077949280476264E-3</c:v>
                </c:pt>
                <c:pt idx="3">
                  <c:v>8.5015127686471539E-3</c:v>
                </c:pt>
                <c:pt idx="4">
                  <c:v>2.7137963777426496E-2</c:v>
                </c:pt>
                <c:pt idx="5">
                  <c:v>1.601019188461437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2442995483784409E-2</c:v>
                </c:pt>
                <c:pt idx="5">
                  <c:v>4.8194389966657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49484623477187E-3</c:v>
                </c:pt>
                <c:pt idx="1">
                  <c:v>2.0050557120729839E-2</c:v>
                </c:pt>
                <c:pt idx="2">
                  <c:v>6.4186172869705752E-2</c:v>
                </c:pt>
                <c:pt idx="3">
                  <c:v>0.15429227605130746</c:v>
                </c:pt>
                <c:pt idx="4">
                  <c:v>0.20315154619955494</c:v>
                </c:pt>
                <c:pt idx="5">
                  <c:v>8.1167475572890682E-2</c:v>
                </c:pt>
                <c:pt idx="6">
                  <c:v>1.667621513627285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1899999999999999</c:v>
                </c:pt>
                <c:pt idx="4">
                  <c:v>0.4304</c:v>
                </c:pt>
                <c:pt idx="5">
                  <c:v>0.45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8662860910350142E-3</c:v>
                </c:pt>
                <c:pt idx="4">
                  <c:v>1.0365959370372987E-2</c:v>
                </c:pt>
                <c:pt idx="5">
                  <c:v>1.08546945652112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1626728191345787E-6</c:v>
                </c:pt>
                <c:pt idx="1">
                  <c:v>1.090259130680651E-2</c:v>
                </c:pt>
                <c:pt idx="2">
                  <c:v>4.2267227885822933E-2</c:v>
                </c:pt>
                <c:pt idx="3">
                  <c:v>6.4473664733931499E-2</c:v>
                </c:pt>
                <c:pt idx="4">
                  <c:v>0.1462788894245165</c:v>
                </c:pt>
                <c:pt idx="5">
                  <c:v>6.9101183225904472E-2</c:v>
                </c:pt>
                <c:pt idx="6">
                  <c:v>8.692520308013320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4397854450286685E-6</c:v>
                </c:pt>
                <c:pt idx="1">
                  <c:v>6.8045765057461139E-6</c:v>
                </c:pt>
                <c:pt idx="2">
                  <c:v>5.5197585500403922E-3</c:v>
                </c:pt>
                <c:pt idx="3">
                  <c:v>8.8675411916588117E-3</c:v>
                </c:pt>
                <c:pt idx="4">
                  <c:v>2.7452470519238152E-2</c:v>
                </c:pt>
                <c:pt idx="5">
                  <c:v>1.32215907290585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171017446687018E-3</c:v>
                </c:pt>
                <c:pt idx="2">
                  <c:v>6.4066643420122365E-3</c:v>
                </c:pt>
                <c:pt idx="3">
                  <c:v>6.3457869674698629E-3</c:v>
                </c:pt>
                <c:pt idx="4">
                  <c:v>2.3912696952235076E-2</c:v>
                </c:pt>
                <c:pt idx="5">
                  <c:v>1.5323018082945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1330701626570154E-3</c:v>
                </c:pt>
                <c:pt idx="1">
                  <c:v>2.5219933378102612E-2</c:v>
                </c:pt>
                <c:pt idx="2">
                  <c:v>6.3851802465888952E-2</c:v>
                </c:pt>
                <c:pt idx="3">
                  <c:v>0.1689449952371791</c:v>
                </c:pt>
                <c:pt idx="4">
                  <c:v>0.19760193852448762</c:v>
                </c:pt>
                <c:pt idx="5">
                  <c:v>9.9013853148013184E-2</c:v>
                </c:pt>
                <c:pt idx="6">
                  <c:v>4.92181391678435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7230000000000001</c:v>
                </c:pt>
                <c:pt idx="4">
                  <c:v>0.40820000000000001</c:v>
                </c:pt>
                <c:pt idx="5">
                  <c:v>0.4194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5.6267355405443626E-3</c:v>
                </c:pt>
                <c:pt idx="4">
                  <c:v>1.3328920479123485E-2</c:v>
                </c:pt>
                <c:pt idx="5">
                  <c:v>1.36987066891367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4742698716724019E-2</c:v>
                </c:pt>
                <c:pt idx="2">
                  <c:v>4.3125794465419483E-2</c:v>
                </c:pt>
                <c:pt idx="3">
                  <c:v>5.7240690154611508E-2</c:v>
                </c:pt>
                <c:pt idx="4">
                  <c:v>0.12609050256656334</c:v>
                </c:pt>
                <c:pt idx="5">
                  <c:v>6.756296323198141E-2</c:v>
                </c:pt>
                <c:pt idx="6">
                  <c:v>4.8366618049805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1310440260193269E-3</c:v>
                </c:pt>
                <c:pt idx="3">
                  <c:v>1.1366699353491758E-2</c:v>
                </c:pt>
                <c:pt idx="4">
                  <c:v>3.3947071804393901E-2</c:v>
                </c:pt>
                <c:pt idx="5">
                  <c:v>1.417013145223590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1969796729562065E-2</c:v>
                </c:pt>
                <c:pt idx="5">
                  <c:v>5.878313444398061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8249036883102588E-3</c:v>
                </c:pt>
                <c:pt idx="1">
                  <c:v>1.9039555438794563E-2</c:v>
                </c:pt>
                <c:pt idx="2">
                  <c:v>7.803187407013687E-2</c:v>
                </c:pt>
                <c:pt idx="3">
                  <c:v>0.17408997730474035</c:v>
                </c:pt>
                <c:pt idx="4">
                  <c:v>0.20749710903510676</c:v>
                </c:pt>
                <c:pt idx="5">
                  <c:v>7.6507533228104233E-2</c:v>
                </c:pt>
                <c:pt idx="6">
                  <c:v>4.54350826333488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439999999999999</c:v>
                </c:pt>
                <c:pt idx="4">
                  <c:v>0.55930000000000002</c:v>
                </c:pt>
                <c:pt idx="5">
                  <c:v>0.276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0277342565419012E-3</c:v>
                </c:pt>
                <c:pt idx="4">
                  <c:v>1.0300632411353873E-2</c:v>
                </c:pt>
                <c:pt idx="5">
                  <c:v>5.0888205248153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12802279375755E-4</c:v>
                </c:pt>
                <c:pt idx="1">
                  <c:v>1.7080493835013619E-2</c:v>
                </c:pt>
                <c:pt idx="2">
                  <c:v>5.4463250658915281E-2</c:v>
                </c:pt>
                <c:pt idx="3">
                  <c:v>8.3948527854730975E-2</c:v>
                </c:pt>
                <c:pt idx="4">
                  <c:v>0.16225500403612425</c:v>
                </c:pt>
                <c:pt idx="5">
                  <c:v>7.7915990591168938E-2</c:v>
                </c:pt>
                <c:pt idx="6">
                  <c:v>6.932612458436772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75936610695815E-6</c:v>
                </c:pt>
                <c:pt idx="1">
                  <c:v>6.1089782157859772E-5</c:v>
                </c:pt>
                <c:pt idx="2">
                  <c:v>6.1011258102854236E-3</c:v>
                </c:pt>
                <c:pt idx="3">
                  <c:v>8.9308936733929548E-3</c:v>
                </c:pt>
                <c:pt idx="4">
                  <c:v>2.8508604951157795E-2</c:v>
                </c:pt>
                <c:pt idx="5">
                  <c:v>1.6102999431494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85942817882599E-3</c:v>
                </c:pt>
                <c:pt idx="2">
                  <c:v>1.0331118287193965E-2</c:v>
                </c:pt>
                <c:pt idx="3">
                  <c:v>2.2866555530310147E-2</c:v>
                </c:pt>
                <c:pt idx="4">
                  <c:v>1.4990139612260421E-2</c:v>
                </c:pt>
                <c:pt idx="5">
                  <c:v>1.73430042040699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54951654468573E-3</c:v>
                </c:pt>
                <c:pt idx="1">
                  <c:v>1.8964615476413014E-2</c:v>
                </c:pt>
                <c:pt idx="2">
                  <c:v>5.7090031553556117E-2</c:v>
                </c:pt>
                <c:pt idx="3">
                  <c:v>0.13920271538574353</c:v>
                </c:pt>
                <c:pt idx="4">
                  <c:v>0.19554587462870235</c:v>
                </c:pt>
                <c:pt idx="5">
                  <c:v>7.2261607886400084E-2</c:v>
                </c:pt>
                <c:pt idx="6">
                  <c:v>7.3006580672153385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829999999999999</c:v>
                </c:pt>
                <c:pt idx="4">
                  <c:v>0.53320000000000001</c:v>
                </c:pt>
                <c:pt idx="5">
                  <c:v>0.318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0273979242497469E-3</c:v>
                </c:pt>
                <c:pt idx="4">
                  <c:v>1.0885058477386517E-2</c:v>
                </c:pt>
                <c:pt idx="5">
                  <c:v>6.50055634762468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3869969023842E-3</c:v>
                </c:pt>
                <c:pt idx="1">
                  <c:v>2.6637470308670572E-2</c:v>
                </c:pt>
                <c:pt idx="2">
                  <c:v>6.744081629700098E-2</c:v>
                </c:pt>
                <c:pt idx="3">
                  <c:v>0.15347575949129419</c:v>
                </c:pt>
                <c:pt idx="4">
                  <c:v>0.20386311852911476</c:v>
                </c:pt>
                <c:pt idx="5">
                  <c:v>8.8048402972123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1890000000000001</c:v>
                </c:pt>
                <c:pt idx="4">
                  <c:v>0.51859999999999995</c:v>
                </c:pt>
                <c:pt idx="5">
                  <c:v>0.26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9705178906068936E-3</c:v>
                </c:pt>
                <c:pt idx="3">
                  <c:v>4.486298563677639E-3</c:v>
                </c:pt>
                <c:pt idx="4">
                  <c:v>1.176903469646207E-2</c:v>
                </c:pt>
                <c:pt idx="5">
                  <c:v>6.68977071570784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766190709648062E-2</c:v>
                </c:pt>
                <c:pt idx="2">
                  <c:v>4.6119744635056595E-2</c:v>
                </c:pt>
                <c:pt idx="3">
                  <c:v>6.1214547937937978E-2</c:v>
                </c:pt>
                <c:pt idx="4">
                  <c:v>0.13355392683477083</c:v>
                </c:pt>
                <c:pt idx="5">
                  <c:v>6.8513461388991295E-2</c:v>
                </c:pt>
                <c:pt idx="6">
                  <c:v>5.1724405334886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261071485899693E-3</c:v>
                </c:pt>
                <c:pt idx="3">
                  <c:v>1.2155817139713386E-2</c:v>
                </c:pt>
                <c:pt idx="4">
                  <c:v>3.6303801521430083E-2</c:v>
                </c:pt>
                <c:pt idx="5">
                  <c:v>1.51538737343455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753668938297143E-3</c:v>
                </c:pt>
                <c:pt idx="2">
                  <c:v>1.451990409426184E-2</c:v>
                </c:pt>
                <c:pt idx="3">
                  <c:v>2.8348763105047508E-2</c:v>
                </c:pt>
                <c:pt idx="4">
                  <c:v>2.0134310145586976E-2</c:v>
                </c:pt>
                <c:pt idx="5">
                  <c:v>2.037926406893721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985882001645663E-3</c:v>
                </c:pt>
                <c:pt idx="1">
                  <c:v>1.7085984025892224E-2</c:v>
                </c:pt>
                <c:pt idx="2">
                  <c:v>6.1958709796235516E-2</c:v>
                </c:pt>
                <c:pt idx="3">
                  <c:v>0.1593489660633414</c:v>
                </c:pt>
                <c:pt idx="4">
                  <c:v>0.20195837699674327</c:v>
                </c:pt>
                <c:pt idx="5">
                  <c:v>6.6127467830465136E-2</c:v>
                </c:pt>
                <c:pt idx="6">
                  <c:v>4.858935202232593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6.0173640735357754E-3</c:v>
                </c:pt>
                <c:pt idx="4">
                  <c:v>1.4254262822939325E-2</c:v>
                </c:pt>
                <c:pt idx="5">
                  <c:v>7.212668046937515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766190709648062E-2</c:v>
                </c:pt>
                <c:pt idx="2">
                  <c:v>4.6119744635056595E-2</c:v>
                </c:pt>
                <c:pt idx="3">
                  <c:v>6.1214547937937978E-2</c:v>
                </c:pt>
                <c:pt idx="4">
                  <c:v>0.13355392683477083</c:v>
                </c:pt>
                <c:pt idx="5">
                  <c:v>6.8513461388991295E-2</c:v>
                </c:pt>
                <c:pt idx="6">
                  <c:v>5.1724405334886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261071485899693E-3</c:v>
                </c:pt>
                <c:pt idx="3">
                  <c:v>1.2155817139713386E-2</c:v>
                </c:pt>
                <c:pt idx="4">
                  <c:v>3.6303801521430083E-2</c:v>
                </c:pt>
                <c:pt idx="5">
                  <c:v>1.51538737343455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753668938297143E-3</c:v>
                </c:pt>
                <c:pt idx="2">
                  <c:v>1.451990409426184E-2</c:v>
                </c:pt>
                <c:pt idx="3">
                  <c:v>2.8348763105047508E-2</c:v>
                </c:pt>
                <c:pt idx="4">
                  <c:v>2.0134310145586976E-2</c:v>
                </c:pt>
                <c:pt idx="5">
                  <c:v>2.037926406893721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985882001645663E-3</c:v>
                </c:pt>
                <c:pt idx="1">
                  <c:v>1.7085984025892224E-2</c:v>
                </c:pt>
                <c:pt idx="2">
                  <c:v>6.8929227686842412E-2</c:v>
                </c:pt>
                <c:pt idx="3">
                  <c:v>0.15781790055348327</c:v>
                </c:pt>
                <c:pt idx="4">
                  <c:v>0.19947314887026601</c:v>
                </c:pt>
                <c:pt idx="5">
                  <c:v>6.5604570499235473E-2</c:v>
                </c:pt>
                <c:pt idx="6">
                  <c:v>4.858935202232593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8.717090218797243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4142823892367</c:v>
                </c:pt>
                <c:pt idx="5">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6.3472344724511617E-3</c:v>
                </c:pt>
                <c:pt idx="5">
                  <c:v>6.08946102609073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758047945724258E-4</c:v>
                </c:pt>
                <c:pt idx="4">
                  <c:v>1.8671617206460649E-2</c:v>
                </c:pt>
                <c:pt idx="5">
                  <c:v>7.5156491705047582E-2</c:v>
                </c:pt>
                <c:pt idx="6">
                  <c:v>2.15412550676011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9.51882130535129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5.526072161864672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6.321923304383939E-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0.112125005601838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45560626076925</c:v>
                </c:pt>
                <c:pt idx="5">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6.9976315335888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1.39846008906877E-4</c:v>
                </c:pt>
                <c:pt idx="4">
                  <c:v>3.1881979303787146E-2</c:v>
                </c:pt>
                <c:pt idx="5">
                  <c:v>5.15933437495402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4008489523505575E-3</c:v>
                </c:pt>
                <c:pt idx="2">
                  <c:v>3.50331077300279E-2</c:v>
                </c:pt>
                <c:pt idx="3">
                  <c:v>8.9897595634951935E-2</c:v>
                </c:pt>
                <c:pt idx="4">
                  <c:v>4.4531214209419481E-2</c:v>
                </c:pt>
                <c:pt idx="5">
                  <c:v>7.18236548190515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332068254325133E-2</c:v>
                </c:pt>
                <c:pt idx="3">
                  <c:v>2.4515348950153868E-2</c:v>
                </c:pt>
                <c:pt idx="4">
                  <c:v>8.5179748515055095E-2</c:v>
                </c:pt>
                <c:pt idx="5">
                  <c:v>3.9611925288855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2319754154723752E-3</c:v>
                </c:pt>
                <c:pt idx="2">
                  <c:v>8.7874455501178436E-2</c:v>
                </c:pt>
                <c:pt idx="3">
                  <c:v>3.6302940848441656E-3</c:v>
                </c:pt>
                <c:pt idx="4">
                  <c:v>0.13819197647741857</c:v>
                </c:pt>
                <c:pt idx="5">
                  <c:v>4.81790301113220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7.8700417513986307E-2</c:v>
                </c:pt>
                <c:pt idx="3">
                  <c:v>1.932140439824797E-2</c:v>
                </c:pt>
                <c:pt idx="4">
                  <c:v>7.1782763875395186E-2</c:v>
                </c:pt>
                <c:pt idx="5">
                  <c:v>5.2847180636571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8083934987422E-3</c:v>
                </c:pt>
                <c:pt idx="4">
                  <c:v>0.10069716249792325</c:v>
                </c:pt>
                <c:pt idx="5">
                  <c:v>6.22852549877928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604146335066902E-2</c:v>
                </c:pt>
                <c:pt idx="3">
                  <c:v>3.3856581368870375E-2</c:v>
                </c:pt>
                <c:pt idx="4">
                  <c:v>8.5025244020544052E-2</c:v>
                </c:pt>
                <c:pt idx="5">
                  <c:v>4.37399473023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9450471560104646E-2</c:v>
                </c:pt>
                <c:pt idx="4">
                  <c:v>0.13474511324270647</c:v>
                </c:pt>
                <c:pt idx="5">
                  <c:v>5.09711691210109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923</c:v>
                </c:pt>
                <c:pt idx="4">
                  <c:v>0.65429999999999999</c:v>
                </c:pt>
                <c:pt idx="5">
                  <c:v>0.153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736900871838091</c:v>
                </c:pt>
                <c:pt idx="4">
                  <c:v>2.5018851678911807E-2</c:v>
                </c:pt>
                <c:pt idx="5">
                  <c:v>0.47510511822666945</c:v>
                </c:pt>
                <c:pt idx="6">
                  <c:v>2.154125506760111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0110324760778144E-2</c:v>
                </c:pt>
                <c:pt idx="4">
                  <c:v>6.8417187732425735E-2</c:v>
                </c:pt>
                <c:pt idx="5">
                  <c:v>1.604095453152696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302858749631E-2</c:v>
                </c:pt>
                <c:pt idx="2">
                  <c:v>4.1117522494445613E-2</c:v>
                </c:pt>
                <c:pt idx="3">
                  <c:v>8.3971777085328436E-2</c:v>
                </c:pt>
                <c:pt idx="4">
                  <c:v>0.14385126804842238</c:v>
                </c:pt>
                <c:pt idx="5">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29158664722241E-2</c:v>
                </c:pt>
                <c:pt idx="4">
                  <c:v>0.11193535863478145</c:v>
                </c:pt>
                <c:pt idx="5">
                  <c:v>8.182195041637719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589538061579E-2</c:v>
                </c:pt>
                <c:pt idx="3">
                  <c:v>4.214852642763222E-2</c:v>
                </c:pt>
                <c:pt idx="4">
                  <c:v>7.7496752456252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543595048637E-3</c:v>
                </c:pt>
                <c:pt idx="2">
                  <c:v>1.9756163549747491E-5</c:v>
                </c:pt>
                <c:pt idx="3">
                  <c:v>7.8489054955231674E-2</c:v>
                </c:pt>
                <c:pt idx="4">
                  <c:v>0.15050567205963603</c:v>
                </c:pt>
                <c:pt idx="5">
                  <c:v>3.85545907801938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8709999999999999</c:v>
                </c:pt>
                <c:pt idx="4">
                  <c:v>0.67290000000000005</c:v>
                </c:pt>
                <c:pt idx="5">
                  <c:v>0.140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2.0414795047385217E-2</c:v>
                </c:pt>
                <c:pt idx="4">
                  <c:v>7.3401727640319561E-2</c:v>
                </c:pt>
                <c:pt idx="5">
                  <c:v>1.527106411326292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9.1580913171355346E-2</c:v>
                </c:pt>
                <c:pt idx="4">
                  <c:v>0.17640493356482195</c:v>
                </c:pt>
                <c:pt idx="5">
                  <c:v>4.3023918737080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47</c:v>
                </c:pt>
                <c:pt idx="4">
                  <c:v>0.58509999999999995</c:v>
                </c:pt>
                <c:pt idx="5">
                  <c:v>0.167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3">
                  <c:v>3.6411951396942636E-2</c:v>
                </c:pt>
                <c:pt idx="4">
                  <c:v>8.6254632221901786E-2</c:v>
                </c:pt>
                <c:pt idx="5">
                  <c:v>2.47600423303927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79737499277604E-3</c:v>
                </c:pt>
                <c:pt idx="2">
                  <c:v>6.8172638867039656E-2</c:v>
                </c:pt>
                <c:pt idx="3">
                  <c:v>9.3501410730676054E-2</c:v>
                </c:pt>
                <c:pt idx="4">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07981753840551E-2</c:v>
                </c:pt>
                <c:pt idx="4">
                  <c:v>9.6429656875496123E-2</c:v>
                </c:pt>
                <c:pt idx="5">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8.9527355625323626E-3</c:v>
                </c:pt>
                <c:pt idx="3">
                  <c:v>4.6244824776479988E-2</c:v>
                </c:pt>
                <c:pt idx="4">
                  <c:v>7.22533735169440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4.9645561528400868E-5</c:v>
                </c:pt>
                <c:pt idx="3">
                  <c:v>8.039527718205268E-2</c:v>
                </c:pt>
                <c:pt idx="4">
                  <c:v>0.14300072992762958</c:v>
                </c:pt>
                <c:pt idx="5">
                  <c:v>3.07455688757755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9704142823892367</c:v>
                </c:pt>
                <c:pt idx="5">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8.7170902187972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3.2758047945724258E-4</c:v>
                </c:pt>
                <c:pt idx="4">
                  <c:v>2.501885167891181E-2</c:v>
                </c:pt>
                <c:pt idx="5">
                  <c:v>0.13605110196595491</c:v>
                </c:pt>
                <c:pt idx="6">
                  <c:v>2.15412550676011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12043020974010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04943725024013E-3</c:v>
                </c:pt>
                <c:pt idx="1">
                  <c:v>5.9624245103843294E-3</c:v>
                </c:pt>
                <c:pt idx="2">
                  <c:v>6.680086969371421E-2</c:v>
                </c:pt>
                <c:pt idx="3">
                  <c:v>4.5350845154859584E-2</c:v>
                </c:pt>
                <c:pt idx="4">
                  <c:v>0.23985695548568728</c:v>
                </c:pt>
                <c:pt idx="5">
                  <c:v>0.252607695402856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66765194611072E-2</c:v>
                </c:pt>
                <c:pt idx="3">
                  <c:v>1.654314843167512E-2</c:v>
                </c:pt>
                <c:pt idx="4">
                  <c:v>3.3060433056127547E-2</c:v>
                </c:pt>
                <c:pt idx="5">
                  <c:v>4.677252486390078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73462332664182E-6</c:v>
                </c:pt>
                <c:pt idx="2">
                  <c:v>3.0774919553610828E-5</c:v>
                </c:pt>
                <c:pt idx="3">
                  <c:v>2.0286296686652133E-2</c:v>
                </c:pt>
                <c:pt idx="4">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09940784180477E-3</c:v>
                </c:pt>
                <c:pt idx="1">
                  <c:v>1.9412627453913071E-3</c:v>
                </c:pt>
                <c:pt idx="2">
                  <c:v>7.4363670252396603E-3</c:v>
                </c:pt>
                <c:pt idx="3">
                  <c:v>3.1874882233121495E-2</c:v>
                </c:pt>
                <c:pt idx="4">
                  <c:v>6.6618846106529891E-2</c:v>
                </c:pt>
                <c:pt idx="5">
                  <c:v>8.237692732204852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6705518922463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8.95601952235319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5">
                  <c:v>1.46147095645370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647638855391468E-2</c:v>
                </c:pt>
                <c:pt idx="3">
                  <c:v>4.6009955935826144E-2</c:v>
                </c:pt>
                <c:pt idx="4">
                  <c:v>0.22755458516457575</c:v>
                </c:pt>
                <c:pt idx="5">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097002897101106E-2</c:v>
                </c:pt>
                <c:pt idx="3">
                  <c:v>2.5489995312311532E-2</c:v>
                </c:pt>
                <c:pt idx="4">
                  <c:v>6.2801569934585189E-2</c:v>
                </c:pt>
                <c:pt idx="5">
                  <c:v>6.49134610257184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231530335985812E-2</c:v>
                </c:pt>
                <c:pt idx="4">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588329459832054E-3</c:v>
                </c:pt>
                <c:pt idx="1">
                  <c:v>7.8251402036527088E-4</c:v>
                </c:pt>
                <c:pt idx="2">
                  <c:v>8.7310834649557585E-3</c:v>
                </c:pt>
                <c:pt idx="3">
                  <c:v>1.4370327160874883E-2</c:v>
                </c:pt>
                <c:pt idx="4">
                  <c:v>4.9840253452017515E-2</c:v>
                </c:pt>
                <c:pt idx="5">
                  <c:v>6.33343910151201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43259965824403E-6</c:v>
                </c:pt>
                <c:pt idx="1">
                  <c:v>5.3888306250356829E-2</c:v>
                </c:pt>
                <c:pt idx="2">
                  <c:v>8.8296192507812163E-2</c:v>
                </c:pt>
                <c:pt idx="3">
                  <c:v>0.15672226016880192</c:v>
                </c:pt>
                <c:pt idx="4">
                  <c:v>7.4973433675184595E-2</c:v>
                </c:pt>
                <c:pt idx="5">
                  <c:v>1.597858474278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662929189084316E-2</c:v>
                </c:pt>
                <c:pt idx="4">
                  <c:v>6.92667399987935E-2</c:v>
                </c:pt>
                <c:pt idx="5">
                  <c:v>3.0407406750139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23174158938654E-4</c:v>
                </c:pt>
                <c:pt idx="2">
                  <c:v>7.2956265121263963E-2</c:v>
                </c:pt>
                <c:pt idx="3">
                  <c:v>3.2513423595308538E-2</c:v>
                </c:pt>
                <c:pt idx="4">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54673535397926E-2</c:v>
                </c:pt>
                <c:pt idx="1">
                  <c:v>1.3315807851434477E-2</c:v>
                </c:pt>
                <c:pt idx="2">
                  <c:v>5.4219276483958155E-2</c:v>
                </c:pt>
                <c:pt idx="3">
                  <c:v>0.21043539868256211</c:v>
                </c:pt>
                <c:pt idx="4">
                  <c:v>4.6398612307185026E-2</c:v>
                </c:pt>
                <c:pt idx="5">
                  <c:v>5.859608572570510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89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9.9930715451976682E-2</c:v>
                </c:pt>
                <c:pt idx="4">
                  <c:v>7.9599416074447649E-2</c:v>
                </c:pt>
                <c:pt idx="5">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3293554281281E-2</c:v>
                </c:pt>
                <c:pt idx="2">
                  <c:v>7.5908432690236213E-2</c:v>
                </c:pt>
                <c:pt idx="3">
                  <c:v>9.789431746896525E-2</c:v>
                </c:pt>
                <c:pt idx="4">
                  <c:v>5.8125506410302778E-2</c:v>
                </c:pt>
                <c:pt idx="5">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02211987525574E-2</c:v>
                </c:pt>
                <c:pt idx="2">
                  <c:v>5.187640607041364E-2</c:v>
                </c:pt>
                <c:pt idx="3">
                  <c:v>8.5594710039561803E-2</c:v>
                </c:pt>
                <c:pt idx="4">
                  <c:v>2.3626798950477115E-2</c:v>
                </c:pt>
                <c:pt idx="5">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205229389434692E-2</c:v>
                </c:pt>
                <c:pt idx="1">
                  <c:v>2.8224377487402518E-3</c:v>
                </c:pt>
                <c:pt idx="2">
                  <c:v>0.10166949076981972</c:v>
                </c:pt>
                <c:pt idx="3">
                  <c:v>0.17997359513886874</c:v>
                </c:pt>
                <c:pt idx="4">
                  <c:v>3.5071140479563362E-2</c:v>
                </c:pt>
                <c:pt idx="5">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21715359273144E-5</c:v>
                </c:pt>
                <c:pt idx="2">
                  <c:v>2.4224929950860924E-2</c:v>
                </c:pt>
                <c:pt idx="3">
                  <c:v>9.3783237033053315E-2</c:v>
                </c:pt>
                <c:pt idx="4">
                  <c:v>0.25137893323917554</c:v>
                </c:pt>
                <c:pt idx="5">
                  <c:v>7.8187717885577726E-2</c:v>
                </c:pt>
                <c:pt idx="6">
                  <c:v>3.80195175587074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12042230674324E-4</c:v>
                </c:pt>
                <c:pt idx="2">
                  <c:v>3.3468966263556457E-2</c:v>
                </c:pt>
                <c:pt idx="3">
                  <c:v>4.8992233294762211E-2</c:v>
                </c:pt>
                <c:pt idx="4">
                  <c:v>0.15638974953160678</c:v>
                </c:pt>
                <c:pt idx="5">
                  <c:v>8.833627784009418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0953659405658E-3</c:v>
                </c:pt>
                <c:pt idx="3">
                  <c:v>2.3546841498113261E-2</c:v>
                </c:pt>
                <c:pt idx="4">
                  <c:v>4.9812552385502723E-2</c:v>
                </c:pt>
                <c:pt idx="5">
                  <c:v>6.948265569494521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51460233273221E-3</c:v>
                </c:pt>
                <c:pt idx="3">
                  <c:v>1.6470431691622524E-2</c:v>
                </c:pt>
                <c:pt idx="4">
                  <c:v>0.1306619093315356</c:v>
                </c:pt>
                <c:pt idx="5">
                  <c:v>6.9922431898410894E-2</c:v>
                </c:pt>
                <c:pt idx="6">
                  <c:v>1.67143797369523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740491962315557</c:v>
                </c:pt>
                <c:pt idx="4">
                  <c:v>1.9066378237682903E-2</c:v>
                </c:pt>
                <c:pt idx="5">
                  <c:v>0.4860729607088935</c:v>
                </c:pt>
                <c:pt idx="6">
                  <c:v>7.455741430267974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275361005366644E-2</c:v>
                </c:pt>
                <c:pt idx="3">
                  <c:v>7.0573777903913226E-2</c:v>
                </c:pt>
                <c:pt idx="4">
                  <c:v>0.21077122139907115</c:v>
                </c:pt>
                <c:pt idx="5">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253107399629878E-2</c:v>
                </c:pt>
                <c:pt idx="3">
                  <c:v>8.8802657434521051E-2</c:v>
                </c:pt>
                <c:pt idx="4">
                  <c:v>0.1899503525949808</c:v>
                </c:pt>
                <c:pt idx="5">
                  <c:v>5.7897636301643719E-2</c:v>
                </c:pt>
                <c:pt idx="6">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352860861596125E-7</c:v>
                </c:pt>
                <c:pt idx="3">
                  <c:v>2.5092572307733631E-2</c:v>
                </c:pt>
                <c:pt idx="4">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845213709128342E-3</c:v>
                </c:pt>
                <c:pt idx="2">
                  <c:v>6.8883622324271659E-4</c:v>
                </c:pt>
                <c:pt idx="3">
                  <c:v>6.6462117870213118E-3</c:v>
                </c:pt>
                <c:pt idx="4">
                  <c:v>9.1586377754997769E-2</c:v>
                </c:pt>
                <c:pt idx="5">
                  <c:v>4.085531414955839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48694361812845544</c:v>
                </c:pt>
                <c:pt idx="5">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6130149470014202E-4</c:v>
                </c:pt>
                <c:pt idx="4">
                  <c:v>1.9066378237682906E-2</c:v>
                </c:pt>
                <c:pt idx="5">
                  <c:v>0.11847995466248612</c:v>
                </c:pt>
                <c:pt idx="6">
                  <c:v>7.455741430267974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1559545226967618</c:v>
                </c:pt>
                <c:pt idx="4">
                  <c:v>3.1881979303787146E-2</c:v>
                </c:pt>
                <c:pt idx="5">
                  <c:v>0.4525206803874141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0.51545560626076925</c:v>
                </c:pt>
                <c:pt idx="5">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5">
                  <c:v>0.112125005601838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1.39846008906877E-4</c:v>
                </c:pt>
                <c:pt idx="4">
                  <c:v>3.1881979303787146E-2</c:v>
                </c:pt>
                <c:pt idx="5">
                  <c:v>0.12156965908542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5950000000000001</c:v>
                </c:pt>
                <c:pt idx="3">
                  <c:v>0.1216</c:v>
                </c:pt>
                <c:pt idx="4">
                  <c:v>0.4224</c:v>
                </c:pt>
                <c:pt idx="5">
                  <c:v>0.196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0761376488587277E-3</c:v>
                </c:pt>
                <c:pt idx="3">
                  <c:v>2.8464121465068999E-3</c:v>
                </c:pt>
                <c:pt idx="4">
                  <c:v>1.0516466768505726E-2</c:v>
                </c:pt>
                <c:pt idx="5">
                  <c:v>5.2254302108340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6285229646794974E-4</c:v>
                </c:pt>
                <c:pt idx="1">
                  <c:v>1.6259295177343681E-2</c:v>
                </c:pt>
                <c:pt idx="2">
                  <c:v>5.184475796394649E-2</c:v>
                </c:pt>
                <c:pt idx="3">
                  <c:v>7.9912437384890206E-2</c:v>
                </c:pt>
                <c:pt idx="4">
                  <c:v>0.1547515526420874</c:v>
                </c:pt>
                <c:pt idx="5">
                  <c:v>7.7033675776512989E-2</c:v>
                </c:pt>
                <c:pt idx="6">
                  <c:v>6.599305230905454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8910696928521368E-6</c:v>
                </c:pt>
                <c:pt idx="1">
                  <c:v>5.8152698043667162E-5</c:v>
                </c:pt>
                <c:pt idx="2">
                  <c:v>5.8077949280476264E-3</c:v>
                </c:pt>
                <c:pt idx="3">
                  <c:v>8.5015127686471539E-3</c:v>
                </c:pt>
                <c:pt idx="4">
                  <c:v>2.7137963777426496E-2</c:v>
                </c:pt>
                <c:pt idx="5">
                  <c:v>1.601019188461437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2442995483784409E-2</c:v>
                </c:pt>
                <c:pt idx="5">
                  <c:v>4.8194389966657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49484623477187E-3</c:v>
                </c:pt>
                <c:pt idx="1">
                  <c:v>2.0050557120729839E-2</c:v>
                </c:pt>
                <c:pt idx="2">
                  <c:v>5.8110035220847019E-2</c:v>
                </c:pt>
                <c:pt idx="3">
                  <c:v>0.15432803027956632</c:v>
                </c:pt>
                <c:pt idx="4">
                  <c:v>0.20245301695983031</c:v>
                </c:pt>
                <c:pt idx="5">
                  <c:v>8.4764932355501976E-2</c:v>
                </c:pt>
                <c:pt idx="6">
                  <c:v>1.667621513627285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2332068254325133E-2</c:v>
                </c:pt>
                <c:pt idx="3">
                  <c:v>2.4515348950153868E-2</c:v>
                </c:pt>
                <c:pt idx="4">
                  <c:v>8.5179748515055095E-2</c:v>
                </c:pt>
                <c:pt idx="5">
                  <c:v>3.9611925288855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318942391174119E-2</c:v>
                </c:pt>
                <c:pt idx="2">
                  <c:v>5.5137933884248834E-2</c:v>
                </c:pt>
                <c:pt idx="3">
                  <c:v>3.4736686526628133E-2</c:v>
                </c:pt>
                <c:pt idx="4">
                  <c:v>6.7670136525075128E-2</c:v>
                </c:pt>
                <c:pt idx="5">
                  <c:v>1.347828842525293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4008489523505575E-3</c:v>
                </c:pt>
                <c:pt idx="2">
                  <c:v>3.50331077300279E-2</c:v>
                </c:pt>
                <c:pt idx="3">
                  <c:v>8.9897595634951935E-2</c:v>
                </c:pt>
                <c:pt idx="4">
                  <c:v>4.4531214209419481E-2</c:v>
                </c:pt>
                <c:pt idx="5">
                  <c:v>7.18236548190515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9.2319754154723752E-3</c:v>
                </c:pt>
                <c:pt idx="2">
                  <c:v>8.4636514937475538E-2</c:v>
                </c:pt>
                <c:pt idx="3">
                  <c:v>3.6302405295432915E-3</c:v>
                </c:pt>
                <c:pt idx="4">
                  <c:v>7.7622155573860915E-2</c:v>
                </c:pt>
                <c:pt idx="5">
                  <c:v>1.01307663290237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3.2379405637028937E-3</c:v>
                </c:pt>
                <c:pt idx="3">
                  <c:v>5.3555300874040423E-8</c:v>
                </c:pt>
                <c:pt idx="4">
                  <c:v>6.056982090355767E-2</c:v>
                </c:pt>
                <c:pt idx="5">
                  <c:v>3.804826378229832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5349999999999998</c:v>
                </c:pt>
                <c:pt idx="3">
                  <c:v>8.6800000000000002E-2</c:v>
                </c:pt>
                <c:pt idx="4">
                  <c:v>0.32240000000000002</c:v>
                </c:pt>
                <c:pt idx="5">
                  <c:v>0.23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7044196561462505</c:v>
                </c:pt>
                <c:pt idx="2">
                  <c:v>0.21713769270767602</c:v>
                </c:pt>
                <c:pt idx="3">
                  <c:v>0.12767426577270749</c:v>
                </c:pt>
                <c:pt idx="4">
                  <c:v>0.26640736095684486</c:v>
                </c:pt>
                <c:pt idx="5">
                  <c:v>0.2176558469385782</c:v>
                </c:pt>
                <c:pt idx="6">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7.8700417513986307E-2</c:v>
                </c:pt>
                <c:pt idx="3">
                  <c:v>1.932140439824797E-2</c:v>
                </c:pt>
                <c:pt idx="4">
                  <c:v>7.1782763875395186E-2</c:v>
                </c:pt>
                <c:pt idx="5">
                  <c:v>5.2847180636571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0.13883172631490734</c:v>
                </c:pt>
                <c:pt idx="2">
                  <c:v>6.85733513406976E-2</c:v>
                </c:pt>
                <c:pt idx="3">
                  <c:v>8.5199533734594043E-3</c:v>
                </c:pt>
                <c:pt idx="4">
                  <c:v>8.5279185241007888E-2</c:v>
                </c:pt>
                <c:pt idx="5">
                  <c:v>1.8039325530002339E-2</c:v>
                </c:pt>
                <c:pt idx="6">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0467504009943729E-2</c:v>
                </c:pt>
                <c:pt idx="2">
                  <c:v>4.2645548657318455E-2</c:v>
                </c:pt>
                <c:pt idx="3">
                  <c:v>9.0446099607501371E-2</c:v>
                </c:pt>
                <c:pt idx="4">
                  <c:v>8.6482493425185485E-3</c:v>
                </c:pt>
                <c:pt idx="5">
                  <c:v>8.448408578421103E-2</c:v>
                </c:pt>
                <c:pt idx="6">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409342891010774E-7</c:v>
                </c:pt>
                <c:pt idx="4">
                  <c:v>4.4998990619535627E-2</c:v>
                </c:pt>
                <c:pt idx="5">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2.1142735289773985E-2</c:v>
                </c:pt>
                <c:pt idx="2">
                  <c:v>2.7218375195673633E-2</c:v>
                </c:pt>
                <c:pt idx="3">
                  <c:v>9.3865043000698322E-3</c:v>
                </c:pt>
                <c:pt idx="4">
                  <c:v>5.5698171878387624E-2</c:v>
                </c:pt>
                <c:pt idx="5">
                  <c:v>2.03247868818876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4440000000000001</c:v>
                </c:pt>
                <c:pt idx="3">
                  <c:v>0.1573</c:v>
                </c:pt>
                <c:pt idx="4">
                  <c:v>0.39510000000000001</c:v>
                </c:pt>
                <c:pt idx="5">
                  <c:v>0.203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9025390559011175E-2</c:v>
                </c:pt>
                <c:pt idx="2">
                  <c:v>0.19501182742892956</c:v>
                </c:pt>
                <c:pt idx="3">
                  <c:v>0.19221661010637114</c:v>
                </c:pt>
                <c:pt idx="4">
                  <c:v>0.33066273846267502</c:v>
                </c:pt>
                <c:pt idx="5">
                  <c:v>0.182706481481457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5.2604146335066902E-2</c:v>
                </c:pt>
                <c:pt idx="3">
                  <c:v>3.3856581368870375E-2</c:v>
                </c:pt>
                <c:pt idx="4">
                  <c:v>8.5025244020544052E-2</c:v>
                </c:pt>
                <c:pt idx="5">
                  <c:v>4.37399473023310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2.8448886650238012E-2</c:v>
                </c:pt>
                <c:pt idx="3">
                  <c:v>0.13057577620431085</c:v>
                </c:pt>
                <c:pt idx="4">
                  <c:v>1.214868734794698E-2</c:v>
                </c:pt>
                <c:pt idx="5">
                  <c:v>8.19739519080282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9.9025390559011175E-2</c:v>
                </c:pt>
                <c:pt idx="2">
                  <c:v>6.450832288352E-2</c:v>
                </c:pt>
                <c:pt idx="3">
                  <c:v>2.7784252533189901E-2</c:v>
                </c:pt>
                <c:pt idx="4">
                  <c:v>9.8743693851477465E-2</c:v>
                </c:pt>
                <c:pt idx="5">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4.9450471560104646E-2</c:v>
                </c:pt>
                <c:pt idx="4">
                  <c:v>7.7421598704224021E-2</c:v>
                </c:pt>
                <c:pt idx="5">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4">
                  <c:v>5.7323514538482452E-2</c:v>
                </c:pt>
                <c:pt idx="5">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50009999999999999</c:v>
                </c:pt>
                <c:pt idx="5">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0312546756316075E-2</c:v>
                </c:pt>
                <c:pt idx="2">
                  <c:v>4.1137278657995359E-2</c:v>
                </c:pt>
                <c:pt idx="3">
                  <c:v>0.31354884189369275</c:v>
                </c:pt>
                <c:pt idx="4">
                  <c:v>0.55220623893151777</c:v>
                </c:pt>
                <c:pt idx="5">
                  <c:v>6.27780934358726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4.3712108953747357E-3</c:v>
                </c:pt>
                <c:pt idx="5">
                  <c:v>4.36927492599697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3257302858749631E-2</c:v>
                </c:pt>
                <c:pt idx="2">
                  <c:v>4.1117522494445613E-2</c:v>
                </c:pt>
                <c:pt idx="3">
                  <c:v>8.3971777085328436E-2</c:v>
                </c:pt>
                <c:pt idx="4">
                  <c:v>0.14385126804842238</c:v>
                </c:pt>
                <c:pt idx="5">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8829158664722241E-2</c:v>
                </c:pt>
                <c:pt idx="4">
                  <c:v>0.11193535863478145</c:v>
                </c:pt>
                <c:pt idx="5">
                  <c:v>8.182195041637719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3674589538061579E-2</c:v>
                </c:pt>
                <c:pt idx="3">
                  <c:v>4.214852642763222E-2</c:v>
                </c:pt>
                <c:pt idx="4">
                  <c:v>7.7496752456252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3806543595048637E-3</c:v>
                </c:pt>
                <c:pt idx="2">
                  <c:v>1.9756163549747491E-5</c:v>
                </c:pt>
                <c:pt idx="3">
                  <c:v>9.8599379716009808E-2</c:v>
                </c:pt>
                <c:pt idx="4">
                  <c:v>0.21455164889668701</c:v>
                </c:pt>
                <c:pt idx="5">
                  <c:v>5.02262703857238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2890000000000003</c:v>
                </c:pt>
                <c:pt idx="3">
                  <c:v>8.0799999999999997E-2</c:v>
                </c:pt>
                <c:pt idx="4">
                  <c:v>0.33789999999999998</c:v>
                </c:pt>
                <c:pt idx="5">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54579999999999995</c:v>
                </c:pt>
                <c:pt idx="5">
                  <c:v>0.454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866662464118811E-2</c:v>
                </c:pt>
                <c:pt idx="2">
                  <c:v>4.5633021875691224E-2</c:v>
                </c:pt>
                <c:pt idx="3">
                  <c:v>0.2606269590823887</c:v>
                </c:pt>
                <c:pt idx="4">
                  <c:v>0.59387574108439223</c:v>
                </c:pt>
                <c:pt idx="5">
                  <c:v>5.89874561094732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7.7200506253627989E-3</c:v>
                </c:pt>
                <c:pt idx="5">
                  <c:v>6.42540378525063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462823601955515E-2</c:v>
                </c:pt>
                <c:pt idx="2">
                  <c:v>4.5630734450636229E-2</c:v>
                </c:pt>
                <c:pt idx="3">
                  <c:v>4.5197142309156488E-2</c:v>
                </c:pt>
                <c:pt idx="4">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1.6435649394388581E-2</c:v>
                </c:pt>
                <c:pt idx="3">
                  <c:v>3.6146301740761742E-2</c:v>
                </c:pt>
                <c:pt idx="4">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6.7287806813729936E-2</c:v>
                </c:pt>
                <c:pt idx="4">
                  <c:v>8.2581405637886227E-2</c:v>
                </c:pt>
                <c:pt idx="5">
                  <c:v>6.92473259129919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8.9681894677747162E-3</c:v>
                </c:pt>
                <c:pt idx="2">
                  <c:v>2.2874250549976061E-6</c:v>
                </c:pt>
                <c:pt idx="3">
                  <c:v>0.11199570821874057</c:v>
                </c:pt>
                <c:pt idx="4">
                  <c:v>0.2420866105797787</c:v>
                </c:pt>
                <c:pt idx="5">
                  <c:v>5.186957906509274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5980000000000001</c:v>
                </c:pt>
                <c:pt idx="5">
                  <c:v>0.640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4730354873988523E-2</c:v>
                </c:pt>
                <c:pt idx="2">
                  <c:v>6.8172638867039656E-2</c:v>
                </c:pt>
                <c:pt idx="3">
                  <c:v>0.30916144583999189</c:v>
                </c:pt>
                <c:pt idx="4">
                  <c:v>0.5489472030872572</c:v>
                </c:pt>
                <c:pt idx="5">
                  <c:v>5.8881162071140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4">
                  <c:v>3.0402933460139136E-3</c:v>
                </c:pt>
                <c:pt idx="5">
                  <c:v>5.408745527176450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5.7279737499277604E-3</c:v>
                </c:pt>
                <c:pt idx="2">
                  <c:v>6.8172638867039656E-2</c:v>
                </c:pt>
                <c:pt idx="3">
                  <c:v>9.3501410730676054E-2</c:v>
                </c:pt>
                <c:pt idx="4">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5.2607981753840551E-2</c:v>
                </c:pt>
                <c:pt idx="4">
                  <c:v>9.6429656875496123E-2</c:v>
                </c:pt>
                <c:pt idx="5">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6411951396942636E-2</c:v>
                </c:pt>
                <c:pt idx="4">
                  <c:v>8.6254632221901786E-2</c:v>
                </c:pt>
                <c:pt idx="5">
                  <c:v>2.4760042330392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9.0023811240607637E-3</c:v>
                </c:pt>
                <c:pt idx="3">
                  <c:v>0.12664010195853267</c:v>
                </c:pt>
                <c:pt idx="4">
                  <c:v>0.21221381009855975</c:v>
                </c:pt>
                <c:pt idx="5">
                  <c:v>2.53368233485991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514884509204492E-3</c:v>
                </c:pt>
                <c:pt idx="1">
                  <c:v>7.9047246020089029E-3</c:v>
                </c:pt>
                <c:pt idx="2">
                  <c:v>9.8734776833118557E-2</c:v>
                </c:pt>
                <c:pt idx="3">
                  <c:v>0.11405517250630832</c:v>
                </c:pt>
                <c:pt idx="4">
                  <c:v>0.38329238792143649</c:v>
                </c:pt>
                <c:pt idx="5">
                  <c:v>0.392961449686207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1504943725024013E-3</c:v>
                </c:pt>
                <c:pt idx="1">
                  <c:v>5.9624245103843294E-3</c:v>
                </c:pt>
                <c:pt idx="2">
                  <c:v>6.680086969371421E-2</c:v>
                </c:pt>
                <c:pt idx="3">
                  <c:v>4.5350845154859584E-2</c:v>
                </c:pt>
                <c:pt idx="4">
                  <c:v>0.23985695548568728</c:v>
                </c:pt>
                <c:pt idx="5">
                  <c:v>0.252607695402856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2.4466765194611072E-2</c:v>
                </c:pt>
                <c:pt idx="3">
                  <c:v>1.654314843167512E-2</c:v>
                </c:pt>
                <c:pt idx="4">
                  <c:v>3.3060433056127547E-2</c:v>
                </c:pt>
                <c:pt idx="5">
                  <c:v>4.677252486390078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0373462332664182E-6</c:v>
                </c:pt>
                <c:pt idx="2">
                  <c:v>3.0774919553610828E-5</c:v>
                </c:pt>
                <c:pt idx="3">
                  <c:v>2.0286296686652133E-2</c:v>
                </c:pt>
                <c:pt idx="4">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9009940784180477E-3</c:v>
                </c:pt>
                <c:pt idx="1">
                  <c:v>1.9412627453913071E-3</c:v>
                </c:pt>
                <c:pt idx="2">
                  <c:v>7.4363670252396603E-3</c:v>
                </c:pt>
                <c:pt idx="3">
                  <c:v>3.1874882233121495E-2</c:v>
                </c:pt>
                <c:pt idx="4">
                  <c:v>6.6618846106529891E-2</c:v>
                </c:pt>
                <c:pt idx="5">
                  <c:v>9.35812294194495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623544200504039E-3</c:v>
                </c:pt>
                <c:pt idx="1">
                  <c:v>1.8876754315294742E-3</c:v>
                </c:pt>
                <c:pt idx="2">
                  <c:v>9.2241089187135389E-2</c:v>
                </c:pt>
                <c:pt idx="3">
                  <c:v>0.11466792141021989</c:v>
                </c:pt>
                <c:pt idx="4">
                  <c:v>0.44252273603449555</c:v>
                </c:pt>
                <c:pt idx="5">
                  <c:v>0.344318223516569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7.4220041840183384E-4</c:v>
                </c:pt>
                <c:pt idx="2">
                  <c:v>6.1995792445291235E-2</c:v>
                </c:pt>
                <c:pt idx="3">
                  <c:v>3.2848087998600943E-2</c:v>
                </c:pt>
                <c:pt idx="4">
                  <c:v>0.29327202715026929</c:v>
                </c:pt>
                <c:pt idx="5">
                  <c:v>0.193072582539631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2.8323074475378015E-6</c:v>
                </c:pt>
                <c:pt idx="3">
                  <c:v>2.1861107551566051E-2</c:v>
                </c:pt>
                <c:pt idx="4">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91222495276866E-2</c:v>
                </c:pt>
                <c:pt idx="3">
                  <c:v>1.3676815514038248E-2</c:v>
                </c:pt>
                <c:pt idx="4">
                  <c:v>2.1887732286704806E-2</c:v>
                </c:pt>
                <c:pt idx="5">
                  <c:v>4.4979926830942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426427056801026E-3</c:v>
                </c:pt>
                <c:pt idx="2">
                  <c:v>8.3330717890754934E-3</c:v>
                </c:pt>
                <c:pt idx="3">
                  <c:v>4.6281910346014643E-2</c:v>
                </c:pt>
                <c:pt idx="4">
                  <c:v>8.162191678381811E-2</c:v>
                </c:pt>
                <c:pt idx="5">
                  <c:v>0.106265714145995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0588329459832054E-3</c:v>
                </c:pt>
                <c:pt idx="1">
                  <c:v>7.8251402036527088E-4</c:v>
                </c:pt>
                <c:pt idx="2">
                  <c:v>8.9475725217448329E-2</c:v>
                </c:pt>
                <c:pt idx="3">
                  <c:v>0.11610180874499837</c:v>
                </c:pt>
                <c:pt idx="4">
                  <c:v>0.39500696547679892</c:v>
                </c:pt>
                <c:pt idx="5">
                  <c:v>0.397574153594405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3647638855391468E-2</c:v>
                </c:pt>
                <c:pt idx="3">
                  <c:v>4.6009955935826144E-2</c:v>
                </c:pt>
                <c:pt idx="4">
                  <c:v>0.22755458516457575</c:v>
                </c:pt>
                <c:pt idx="5">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3.7097002897101106E-2</c:v>
                </c:pt>
                <c:pt idx="3">
                  <c:v>2.5489995312311532E-2</c:v>
                </c:pt>
                <c:pt idx="4">
                  <c:v>6.2801569934585189E-2</c:v>
                </c:pt>
                <c:pt idx="5">
                  <c:v>6.49134610257184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0231530335985812E-2</c:v>
                </c:pt>
                <c:pt idx="4">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0588329459832054E-3</c:v>
                </c:pt>
                <c:pt idx="1">
                  <c:v>7.8251402036527088E-4</c:v>
                </c:pt>
                <c:pt idx="2">
                  <c:v>8.7310834649557585E-3</c:v>
                </c:pt>
                <c:pt idx="3">
                  <c:v>1.4370327160874883E-2</c:v>
                </c:pt>
                <c:pt idx="4">
                  <c:v>4.9840253452017515E-2</c:v>
                </c:pt>
                <c:pt idx="5">
                  <c:v>7.79491005796572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7577861394508E-2</c:v>
                </c:pt>
                <c:pt idx="1">
                  <c:v>6.7655345843380704E-2</c:v>
                </c:pt>
                <c:pt idx="2">
                  <c:v>0.21547173411303427</c:v>
                </c:pt>
                <c:pt idx="3">
                  <c:v>0.4843340116357569</c:v>
                </c:pt>
                <c:pt idx="4">
                  <c:v>0.20688312282457111</c:v>
                </c:pt>
                <c:pt idx="5">
                  <c:v>1.04982077218625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9043259965824403E-6</c:v>
                </c:pt>
                <c:pt idx="1">
                  <c:v>5.3888306250356829E-2</c:v>
                </c:pt>
                <c:pt idx="2">
                  <c:v>8.8296192507812163E-2</c:v>
                </c:pt>
                <c:pt idx="3">
                  <c:v>0.15672226016880192</c:v>
                </c:pt>
                <c:pt idx="4">
                  <c:v>7.4973433675184595E-2</c:v>
                </c:pt>
                <c:pt idx="5">
                  <c:v>1.597858474278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4662929189084316E-2</c:v>
                </c:pt>
                <c:pt idx="4">
                  <c:v>6.92667399987935E-2</c:v>
                </c:pt>
                <c:pt idx="5">
                  <c:v>3.0407406750139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4.5123174158938654E-4</c:v>
                </c:pt>
                <c:pt idx="2">
                  <c:v>7.2956265121263963E-2</c:v>
                </c:pt>
                <c:pt idx="3">
                  <c:v>3.2513423595308538E-2</c:v>
                </c:pt>
                <c:pt idx="4">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5154673535397926E-2</c:v>
                </c:pt>
                <c:pt idx="1">
                  <c:v>1.3315807851434477E-2</c:v>
                </c:pt>
                <c:pt idx="2">
                  <c:v>5.4219276483958155E-2</c:v>
                </c:pt>
                <c:pt idx="3">
                  <c:v>0.21043539868256211</c:v>
                </c:pt>
                <c:pt idx="4">
                  <c:v>4.6398612307185026E-2</c:v>
                </c:pt>
                <c:pt idx="5">
                  <c:v>5.859608572570510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36538655618517E-2</c:v>
                </c:pt>
                <c:pt idx="1">
                  <c:v>4.6055004685654329E-2</c:v>
                </c:pt>
                <c:pt idx="2">
                  <c:v>0.19655397261270163</c:v>
                </c:pt>
                <c:pt idx="3">
                  <c:v>0.49903063459421459</c:v>
                </c:pt>
                <c:pt idx="4">
                  <c:v>0.23210744618696394</c:v>
                </c:pt>
                <c:pt idx="5">
                  <c:v>1.38875553642803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9.4156307603244487E-3</c:v>
                </c:pt>
                <c:pt idx="3">
                  <c:v>2.3115914163032367E-3</c:v>
                </c:pt>
                <c:pt idx="4">
                  <c:v>9.6719239300635512E-3</c:v>
                </c:pt>
                <c:pt idx="5">
                  <c:v>7.224720214512868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1626728191345787E-6</c:v>
                </c:pt>
                <c:pt idx="1">
                  <c:v>1.090259130680651E-2</c:v>
                </c:pt>
                <c:pt idx="2">
                  <c:v>4.2267227885822933E-2</c:v>
                </c:pt>
                <c:pt idx="3">
                  <c:v>6.4473664733931499E-2</c:v>
                </c:pt>
                <c:pt idx="4">
                  <c:v>0.1462788894245165</c:v>
                </c:pt>
                <c:pt idx="5">
                  <c:v>6.9101183225904472E-2</c:v>
                </c:pt>
                <c:pt idx="6">
                  <c:v>8.692520308013320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4397854450286685E-6</c:v>
                </c:pt>
                <c:pt idx="1">
                  <c:v>6.8045765057461139E-6</c:v>
                </c:pt>
                <c:pt idx="2">
                  <c:v>5.5197585500403922E-3</c:v>
                </c:pt>
                <c:pt idx="3">
                  <c:v>8.8675411916588117E-3</c:v>
                </c:pt>
                <c:pt idx="4">
                  <c:v>2.7452470519238152E-2</c:v>
                </c:pt>
                <c:pt idx="5">
                  <c:v>1.32215907290585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171017446687018E-3</c:v>
                </c:pt>
                <c:pt idx="2">
                  <c:v>6.4066643420122365E-3</c:v>
                </c:pt>
                <c:pt idx="3">
                  <c:v>6.3457869674698629E-3</c:v>
                </c:pt>
                <c:pt idx="4">
                  <c:v>2.3912696952235076E-2</c:v>
                </c:pt>
                <c:pt idx="5">
                  <c:v>1.5323018082945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1330701626570154E-3</c:v>
                </c:pt>
                <c:pt idx="1">
                  <c:v>2.5219933378102612E-2</c:v>
                </c:pt>
                <c:pt idx="2">
                  <c:v>5.4436171705564501E-2</c:v>
                </c:pt>
                <c:pt idx="3">
                  <c:v>0.16949968991191086</c:v>
                </c:pt>
                <c:pt idx="4">
                  <c:v>0.19829597396479706</c:v>
                </c:pt>
                <c:pt idx="5">
                  <c:v>0.10264382749871152</c:v>
                </c:pt>
                <c:pt idx="6">
                  <c:v>4.92181391678435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1.3898806779292177E-6</c:v>
                </c:pt>
                <c:pt idx="1">
                  <c:v>3.3256611750207041E-2</c:v>
                </c:pt>
                <c:pt idx="2">
                  <c:v>6.6171918699067203E-2</c:v>
                </c:pt>
                <c:pt idx="3">
                  <c:v>0.14902085782732866</c:v>
                </c:pt>
                <c:pt idx="4">
                  <c:v>7.41689153756588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3">
                  <c:v>8.3354382219192336E-2</c:v>
                </c:pt>
                <c:pt idx="4">
                  <c:v>7.8275086191821081E-2</c:v>
                </c:pt>
                <c:pt idx="5">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5398160212401056E-4</c:v>
                </c:pt>
                <c:pt idx="2">
                  <c:v>7.2726081771241943E-2</c:v>
                </c:pt>
                <c:pt idx="3">
                  <c:v>4.416413057141879E-2</c:v>
                </c:pt>
                <c:pt idx="4">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1.2363996675507241E-2</c:v>
                </c:pt>
                <c:pt idx="1">
                  <c:v>1.2544411333323277E-2</c:v>
                </c:pt>
                <c:pt idx="2">
                  <c:v>5.7655972142392473E-2</c:v>
                </c:pt>
                <c:pt idx="3">
                  <c:v>0.22249126397627481</c:v>
                </c:pt>
                <c:pt idx="4">
                  <c:v>6.6276897964923989E-2</c:v>
                </c:pt>
                <c:pt idx="5">
                  <c:v>9.90330203014881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5205229389434692E-2</c:v>
                </c:pt>
                <c:pt idx="1">
                  <c:v>7.0854005164393927E-2</c:v>
                </c:pt>
                <c:pt idx="2">
                  <c:v>0.22945432953046957</c:v>
                </c:pt>
                <c:pt idx="3">
                  <c:v>0.4633933380993725</c:v>
                </c:pt>
                <c:pt idx="4">
                  <c:v>0.19642286191479091</c:v>
                </c:pt>
                <c:pt idx="5">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3">
                  <c:v>9.9930715451976682E-2</c:v>
                </c:pt>
                <c:pt idx="4">
                  <c:v>7.9599416074447649E-2</c:v>
                </c:pt>
                <c:pt idx="5">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5.63293554281281E-2</c:v>
                </c:pt>
                <c:pt idx="2">
                  <c:v>7.5908432690236213E-2</c:v>
                </c:pt>
                <c:pt idx="3">
                  <c:v>9.789431746896525E-2</c:v>
                </c:pt>
                <c:pt idx="4">
                  <c:v>5.8125506410302778E-2</c:v>
                </c:pt>
                <c:pt idx="5">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1.1702211987525574E-2</c:v>
                </c:pt>
                <c:pt idx="2">
                  <c:v>5.187640607041364E-2</c:v>
                </c:pt>
                <c:pt idx="3">
                  <c:v>8.5594710039561803E-2</c:v>
                </c:pt>
                <c:pt idx="4">
                  <c:v>2.3626798950477115E-2</c:v>
                </c:pt>
                <c:pt idx="5">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2.5205229389434692E-2</c:v>
                </c:pt>
                <c:pt idx="1">
                  <c:v>2.8224377487402518E-3</c:v>
                </c:pt>
                <c:pt idx="2">
                  <c:v>0.10166949076981972</c:v>
                </c:pt>
                <c:pt idx="3">
                  <c:v>0.17997359513886874</c:v>
                </c:pt>
                <c:pt idx="4">
                  <c:v>3.5071140479563362E-2</c:v>
                </c:pt>
                <c:pt idx="5">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8541373589723593E-3</c:v>
                </c:pt>
                <c:pt idx="2">
                  <c:v>6.5348137603685269E-2</c:v>
                </c:pt>
                <c:pt idx="3">
                  <c:v>0.18279274351755131</c:v>
                </c:pt>
                <c:pt idx="4">
                  <c:v>0.58824314448782078</c:v>
                </c:pt>
                <c:pt idx="5">
                  <c:v>0.15763860412494748</c:v>
                </c:pt>
                <c:pt idx="6">
                  <c:v>3.96909555324027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9.1121715359273144E-5</c:v>
                </c:pt>
                <c:pt idx="2">
                  <c:v>2.4224929950860924E-2</c:v>
                </c:pt>
                <c:pt idx="3">
                  <c:v>9.3783237033053315E-2</c:v>
                </c:pt>
                <c:pt idx="4">
                  <c:v>0.25137893323917554</c:v>
                </c:pt>
                <c:pt idx="5">
                  <c:v>7.8187717885577726E-2</c:v>
                </c:pt>
                <c:pt idx="6">
                  <c:v>3.80195175587074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3.3512042230674324E-4</c:v>
                </c:pt>
                <c:pt idx="2">
                  <c:v>3.3468966263556457E-2</c:v>
                </c:pt>
                <c:pt idx="3">
                  <c:v>4.8992233294762211E-2</c:v>
                </c:pt>
                <c:pt idx="4">
                  <c:v>0.15638974953160678</c:v>
                </c:pt>
                <c:pt idx="5">
                  <c:v>8.833627784009418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2.1390953659405658E-3</c:v>
                </c:pt>
                <c:pt idx="3">
                  <c:v>2.3546841498113261E-2</c:v>
                </c:pt>
                <c:pt idx="4">
                  <c:v>4.9812552385502723E-2</c:v>
                </c:pt>
                <c:pt idx="5">
                  <c:v>6.948265569494521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5.5151460233273221E-3</c:v>
                </c:pt>
                <c:pt idx="3">
                  <c:v>1.6470431691622524E-2</c:v>
                </c:pt>
                <c:pt idx="4">
                  <c:v>0.1306619093315356</c:v>
                </c:pt>
                <c:pt idx="5">
                  <c:v>6.9922431898410894E-2</c:v>
                </c:pt>
                <c:pt idx="6">
                  <c:v>1.67143797369523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9202668363358737E-3</c:v>
                </c:pt>
                <c:pt idx="2">
                  <c:v>8.9052930810596606E-2</c:v>
                </c:pt>
                <c:pt idx="3">
                  <c:v>0.14613885589858219</c:v>
                </c:pt>
                <c:pt idx="4">
                  <c:v>0.56644603950565153</c:v>
                </c:pt>
                <c:pt idx="5">
                  <c:v>0.19549927143426438</c:v>
                </c:pt>
                <c:pt idx="6">
                  <c:v>8.105355045852024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6660861855259E-2</c:v>
                </c:pt>
                <c:pt idx="3">
                  <c:v>5.5424375919261658E-2</c:v>
                </c:pt>
                <c:pt idx="4">
                  <c:v>0.20615380813581238</c:v>
                </c:pt>
                <c:pt idx="5">
                  <c:v>0.1052574180958061</c:v>
                </c:pt>
                <c:pt idx="6">
                  <c:v>5.182356240399011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1">
                  <c:v>4.0567911570269795E-5</c:v>
                </c:pt>
                <c:pt idx="2">
                  <c:v>3.2908010742209462E-2</c:v>
                </c:pt>
                <c:pt idx="3">
                  <c:v>5.2867011871372105E-2</c:v>
                </c:pt>
                <c:pt idx="4">
                  <c:v>0.16366770150492665</c:v>
                </c:pt>
                <c:pt idx="5">
                  <c:v>7.83642808633494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5.2155196105875398E-3</c:v>
                </c:pt>
                <c:pt idx="3">
                  <c:v>2.361021788117313E-2</c:v>
                </c:pt>
                <c:pt idx="4">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2">
                  <c:v>4.2685386025406056E-3</c:v>
                </c:pt>
                <c:pt idx="3">
                  <c:v>1.42372502267753E-2</c:v>
                </c:pt>
                <c:pt idx="4">
                  <c:v>0.15896178636610173</c:v>
                </c:pt>
                <c:pt idx="5">
                  <c:v>8.2405425252123327E-2</c:v>
                </c:pt>
                <c:pt idx="6">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3300000000000001</c:v>
                </c:pt>
                <c:pt idx="3">
                  <c:v>0.15</c:v>
                </c:pt>
                <c:pt idx="4">
                  <c:v>0.39340000000000003</c:v>
                </c:pt>
                <c:pt idx="5">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2845213709128342E-3</c:v>
                </c:pt>
                <c:pt idx="2">
                  <c:v>9.7217668156847847E-2</c:v>
                </c:pt>
                <c:pt idx="3">
                  <c:v>0.19111521943318921</c:v>
                </c:pt>
                <c:pt idx="4">
                  <c:v>0.57080960194172747</c:v>
                </c:pt>
                <c:pt idx="5">
                  <c:v>0.10755092846468892</c:v>
                </c:pt>
                <c:pt idx="6">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2">
                  <c:v>4.4275361005366644E-2</c:v>
                </c:pt>
                <c:pt idx="3">
                  <c:v>7.0573777903913226E-2</c:v>
                </c:pt>
                <c:pt idx="4">
                  <c:v>0.21077122139907115</c:v>
                </c:pt>
                <c:pt idx="5">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5.2253107399629878E-2</c:v>
                </c:pt>
                <c:pt idx="3">
                  <c:v>8.8802657434521051E-2</c:v>
                </c:pt>
                <c:pt idx="4">
                  <c:v>0.1899503525949808</c:v>
                </c:pt>
                <c:pt idx="5">
                  <c:v>5.7897636301643719E-2</c:v>
                </c:pt>
                <c:pt idx="6">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2">
                  <c:v>3.6352860861596125E-7</c:v>
                </c:pt>
                <c:pt idx="3">
                  <c:v>2.5092572307733631E-2</c:v>
                </c:pt>
                <c:pt idx="4">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3.2845213709128342E-3</c:v>
                </c:pt>
                <c:pt idx="2">
                  <c:v>6.8883622324271659E-4</c:v>
                </c:pt>
                <c:pt idx="3">
                  <c:v>6.6462117870213118E-3</c:v>
                </c:pt>
                <c:pt idx="4">
                  <c:v>9.1586377754997769E-2</c:v>
                </c:pt>
                <c:pt idx="5">
                  <c:v>4.085531414955839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365210675183357E-3</c:v>
                </c:pt>
                <c:pt idx="2">
                  <c:v>4.8498062295447069E-3</c:v>
                </c:pt>
                <c:pt idx="3">
                  <c:v>3.0614134196544004E-2</c:v>
                </c:pt>
                <c:pt idx="4">
                  <c:v>0.89021699739939097</c:v>
                </c:pt>
                <c:pt idx="5">
                  <c:v>7.2815951300215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34087797771166439</c:v>
                </c:pt>
                <c:pt idx="5">
                  <c:v>1.3004613954895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1035367549116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1.1224575664137333E-3</c:v>
                </c:pt>
                <c:pt idx="4">
                  <c:v>0.16484119757410542</c:v>
                </c:pt>
                <c:pt idx="5">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1">
                  <c:v>1.1365210675183357E-3</c:v>
                </c:pt>
                <c:pt idx="2">
                  <c:v>4.8498062295447069E-3</c:v>
                </c:pt>
                <c:pt idx="3">
                  <c:v>2.9491676630130272E-2</c:v>
                </c:pt>
                <c:pt idx="4">
                  <c:v>0.20346245456450432</c:v>
                </c:pt>
                <c:pt idx="5">
                  <c:v>4.13852558278645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766865028658774E-4</c:v>
                </c:pt>
                <c:pt idx="1">
                  <c:v>1.4491880932194251E-3</c:v>
                </c:pt>
                <c:pt idx="2">
                  <c:v>4.4576960941318028E-3</c:v>
                </c:pt>
                <c:pt idx="3">
                  <c:v>3.0277145264557645E-2</c:v>
                </c:pt>
                <c:pt idx="4">
                  <c:v>0.83839550714659039</c:v>
                </c:pt>
                <c:pt idx="5">
                  <c:v>0.12472279475121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8.671674918966323E-5</c:v>
                </c:pt>
                <c:pt idx="4">
                  <c:v>0.20472408778743872</c:v>
                </c:pt>
                <c:pt idx="5">
                  <c:v>1.60999982988395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7811388833158634</c:v>
                </c:pt>
                <c:pt idx="5">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1095190109692449E-4</c:v>
                </c:pt>
                <c:pt idx="1">
                  <c:v>1.4491880932194251E-3</c:v>
                </c:pt>
                <c:pt idx="2">
                  <c:v>4.4576960941318028E-3</c:v>
                </c:pt>
                <c:pt idx="3">
                  <c:v>3.0277145264557642E-2</c:v>
                </c:pt>
                <c:pt idx="4">
                  <c:v>0.26942350064792608</c:v>
                </c:pt>
                <c:pt idx="5">
                  <c:v>8.78834906469543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3253304601556915E-2</c:v>
                </c:pt>
                <c:pt idx="4">
                  <c:v>0.86281742512960802</c:v>
                </c:pt>
                <c:pt idx="5">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4">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4">
                  <c:v>0.26754454081973494</c:v>
                </c:pt>
                <c:pt idx="5">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4">
                  <c:v>0.16700735214488155</c:v>
                </c:pt>
                <c:pt idx="5">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3">
                  <c:v>4.3253304601556915E-2</c:v>
                </c:pt>
                <c:pt idx="4">
                  <c:v>0.16065304457669638</c:v>
                </c:pt>
                <c:pt idx="5">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260000000000002</c:v>
                </c:pt>
                <c:pt idx="2">
                  <c:v>0.20860000000000001</c:v>
                </c:pt>
                <c:pt idx="3">
                  <c:v>0.13139999999999999</c:v>
                </c:pt>
                <c:pt idx="4">
                  <c:v>0.25600000000000001</c:v>
                </c:pt>
                <c:pt idx="5">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316918285085208E-3</c:v>
                </c:pt>
                <c:pt idx="1">
                  <c:v>3.6368004996117198E-2</c:v>
                </c:pt>
                <c:pt idx="2">
                  <c:v>0.12183872576169985</c:v>
                </c:pt>
                <c:pt idx="3">
                  <c:v>0.26803138806339494</c:v>
                </c:pt>
                <c:pt idx="4">
                  <c:v>0.39485900014784997</c:v>
                </c:pt>
                <c:pt idx="5">
                  <c:v>0.17344449652797625</c:v>
                </c:pt>
                <c:pt idx="6">
                  <c:v>8.266926744532740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7153555707729703E-8</c:v>
                </c:pt>
                <c:pt idx="1">
                  <c:v>1.081997685155103E-2</c:v>
                </c:pt>
                <c:pt idx="2">
                  <c:v>6.4019192653766085E-3</c:v>
                </c:pt>
                <c:pt idx="3">
                  <c:v>4.0331845432767677E-3</c:v>
                </c:pt>
                <c:pt idx="4">
                  <c:v>7.8570000758461621E-3</c:v>
                </c:pt>
                <c:pt idx="5">
                  <c:v>1.5649283216718202E-3</c:v>
                </c:pt>
                <c:pt idx="6">
                  <c:v>1.046795737064205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6285229646794974E-4</c:v>
                </c:pt>
                <c:pt idx="1">
                  <c:v>1.6259295177343681E-2</c:v>
                </c:pt>
                <c:pt idx="2">
                  <c:v>5.184475796394649E-2</c:v>
                </c:pt>
                <c:pt idx="3">
                  <c:v>7.9912437384890206E-2</c:v>
                </c:pt>
                <c:pt idx="4">
                  <c:v>0.1547515526420874</c:v>
                </c:pt>
                <c:pt idx="5">
                  <c:v>7.7033675776512989E-2</c:v>
                </c:pt>
                <c:pt idx="6">
                  <c:v>6.5993052309054547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3.8910696928521368E-6</c:v>
                </c:pt>
                <c:pt idx="1">
                  <c:v>5.8152698043667162E-5</c:v>
                </c:pt>
                <c:pt idx="2">
                  <c:v>5.8077949280476264E-3</c:v>
                </c:pt>
                <c:pt idx="3">
                  <c:v>8.5015127686471539E-3</c:v>
                </c:pt>
                <c:pt idx="4">
                  <c:v>2.7137963777426496E-2</c:v>
                </c:pt>
                <c:pt idx="5">
                  <c:v>1.601019188461437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2.2442995483784409E-2</c:v>
                </c:pt>
                <c:pt idx="5">
                  <c:v>4.8194389966657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49313087920109E-3</c:v>
                </c:pt>
                <c:pt idx="1">
                  <c:v>9.2305802691788098E-3</c:v>
                </c:pt>
                <c:pt idx="2">
                  <c:v>5.7784253604329136E-2</c:v>
                </c:pt>
                <c:pt idx="3">
                  <c:v>0.15314125788279645</c:v>
                </c:pt>
                <c:pt idx="4">
                  <c:v>0.20511248365248988</c:v>
                </c:pt>
                <c:pt idx="5">
                  <c:v>8.8425434244664231E-2</c:v>
                </c:pt>
                <c:pt idx="6">
                  <c:v>1.562941939920865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45</c:v>
                </c:pt>
                <c:pt idx="2">
                  <c:v>0.21460000000000001</c:v>
                </c:pt>
                <c:pt idx="3">
                  <c:v>2.6700000000000002E-2</c:v>
                </c:pt>
                <c:pt idx="4">
                  <c:v>0.26690000000000003</c:v>
                </c:pt>
                <c:pt idx="5">
                  <c:v>5.6500000000000002E-2</c:v>
                </c:pt>
                <c:pt idx="6">
                  <c:v>8.0000000000000004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1406726209211788E-3</c:v>
                </c:pt>
                <c:pt idx="1">
                  <c:v>3.8300346708101882E-2</c:v>
                </c:pt>
                <c:pt idx="2">
                  <c:v>0.11804545324376452</c:v>
                </c:pt>
                <c:pt idx="3">
                  <c:v>0.25149827422127424</c:v>
                </c:pt>
                <c:pt idx="4">
                  <c:v>0.40561195479085038</c:v>
                </c:pt>
                <c:pt idx="5">
                  <c:v>0.18182419182032922</c:v>
                </c:pt>
                <c:pt idx="6">
                  <c:v>5.7910659475856859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036248533548841E-7</c:v>
                </c:pt>
                <c:pt idx="1">
                  <c:v>1.660967392666346E-2</c:v>
                </c:pt>
                <c:pt idx="2">
                  <c:v>8.2040397829816307E-3</c:v>
                </c:pt>
                <c:pt idx="3">
                  <c:v>1.0193177824681543E-3</c:v>
                </c:pt>
                <c:pt idx="4">
                  <c:v>1.0202707242664149E-2</c:v>
                </c:pt>
                <c:pt idx="5">
                  <c:v>2.1582049209028765E-3</c:v>
                </c:pt>
                <c:pt idx="6">
                  <c:v>2.949527990903335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1626728191345787E-6</c:v>
                </c:pt>
                <c:pt idx="1">
                  <c:v>1.090259130680651E-2</c:v>
                </c:pt>
                <c:pt idx="2">
                  <c:v>4.2267227885822933E-2</c:v>
                </c:pt>
                <c:pt idx="3">
                  <c:v>6.4473664733931499E-2</c:v>
                </c:pt>
                <c:pt idx="4">
                  <c:v>0.1462788894245165</c:v>
                </c:pt>
                <c:pt idx="5">
                  <c:v>6.9101183225904472E-2</c:v>
                </c:pt>
                <c:pt idx="6">
                  <c:v>8.6925203080133207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4397854450286685E-6</c:v>
                </c:pt>
                <c:pt idx="1">
                  <c:v>6.8045765057461139E-6</c:v>
                </c:pt>
                <c:pt idx="2">
                  <c:v>5.5197585500403922E-3</c:v>
                </c:pt>
                <c:pt idx="3">
                  <c:v>8.8675411916588117E-3</c:v>
                </c:pt>
                <c:pt idx="4">
                  <c:v>2.7452470519238152E-2</c:v>
                </c:pt>
                <c:pt idx="5">
                  <c:v>1.32215907290585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171017446687018E-3</c:v>
                </c:pt>
                <c:pt idx="2">
                  <c:v>6.4066643420122365E-3</c:v>
                </c:pt>
                <c:pt idx="3">
                  <c:v>6.3457869674698629E-3</c:v>
                </c:pt>
                <c:pt idx="4">
                  <c:v>2.3912696952235076E-2</c:v>
                </c:pt>
                <c:pt idx="5">
                  <c:v>1.5323018082945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13296980017168E-3</c:v>
                </c:pt>
                <c:pt idx="1">
                  <c:v>8.6102594514391537E-3</c:v>
                </c:pt>
                <c:pt idx="2">
                  <c:v>5.5647762682907317E-2</c:v>
                </c:pt>
                <c:pt idx="3">
                  <c:v>0.17079196354574594</c:v>
                </c:pt>
                <c:pt idx="4">
                  <c:v>0.19776519065219647</c:v>
                </c:pt>
                <c:pt idx="5">
                  <c:v>0.10771034279232151</c:v>
                </c:pt>
                <c:pt idx="6">
                  <c:v>4.626861117694019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50000000000002</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8249036883102588E-3</c:v>
                </c:pt>
                <c:pt idx="1">
                  <c:v>3.3782254155518582E-2</c:v>
                </c:pt>
                <c:pt idx="2">
                  <c:v>0.12828871256157567</c:v>
                </c:pt>
                <c:pt idx="3">
                  <c:v>0.28029389908295005</c:v>
                </c:pt>
                <c:pt idx="4">
                  <c:v>0.38086360388518753</c:v>
                </c:pt>
                <c:pt idx="5">
                  <c:v>0.16506452973884406</c:v>
                </c:pt>
                <c:pt idx="6">
                  <c:v>4.882096887613893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2">
                  <c:v>6.5180135806593969E-3</c:v>
                </c:pt>
                <c:pt idx="3">
                  <c:v>4.1950620346801288E-3</c:v>
                </c:pt>
                <c:pt idx="4">
                  <c:v>1.1005025621720703E-2</c:v>
                </c:pt>
                <c:pt idx="5">
                  <c:v>6.255491637893906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4742698716724019E-2</c:v>
                </c:pt>
                <c:pt idx="2">
                  <c:v>4.3125794465419483E-2</c:v>
                </c:pt>
                <c:pt idx="3">
                  <c:v>5.7240690154611508E-2</c:v>
                </c:pt>
                <c:pt idx="4">
                  <c:v>0.12609050256656334</c:v>
                </c:pt>
                <c:pt idx="5">
                  <c:v>6.756296323198141E-2</c:v>
                </c:pt>
                <c:pt idx="6">
                  <c:v>4.8366618049805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1310440260193269E-3</c:v>
                </c:pt>
                <c:pt idx="3">
                  <c:v>1.1366699353491758E-2</c:v>
                </c:pt>
                <c:pt idx="4">
                  <c:v>3.3947071804393901E-2</c:v>
                </c:pt>
                <c:pt idx="5">
                  <c:v>1.417013145223590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1969796729562065E-2</c:v>
                </c:pt>
                <c:pt idx="5">
                  <c:v>5.878313444398061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8249036883102588E-3</c:v>
                </c:pt>
                <c:pt idx="1">
                  <c:v>1.9039555438794563E-2</c:v>
                </c:pt>
                <c:pt idx="2">
                  <c:v>7.1513860489477471E-2</c:v>
                </c:pt>
                <c:pt idx="3">
                  <c:v>0.17552165081060458</c:v>
                </c:pt>
                <c:pt idx="4">
                  <c:v>0.20982100389250954</c:v>
                </c:pt>
                <c:pt idx="5">
                  <c:v>8.3950748279347107E-2</c:v>
                </c:pt>
                <c:pt idx="6">
                  <c:v>4.54350826333488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1.2269923294306317E-2</c:v>
                </c:pt>
                <c:pt idx="2">
                  <c:v>7.9930224880401524E-3</c:v>
                </c:pt>
                <c:pt idx="3">
                  <c:v>3.4426589528947196E-3</c:v>
                </c:pt>
                <c:pt idx="4">
                  <c:v>1.223501914523722E-2</c:v>
                </c:pt>
                <c:pt idx="5">
                  <c:v>7.460942800408948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4742698716724019E-2</c:v>
                </c:pt>
                <c:pt idx="2">
                  <c:v>4.3125794465419483E-2</c:v>
                </c:pt>
                <c:pt idx="3">
                  <c:v>5.7240690154611508E-2</c:v>
                </c:pt>
                <c:pt idx="4">
                  <c:v>0.12609050256656334</c:v>
                </c:pt>
                <c:pt idx="5">
                  <c:v>6.756296323198141E-2</c:v>
                </c:pt>
                <c:pt idx="6">
                  <c:v>4.8366618049805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1310440260193269E-3</c:v>
                </c:pt>
                <c:pt idx="3">
                  <c:v>1.1366699353491758E-2</c:v>
                </c:pt>
                <c:pt idx="4">
                  <c:v>3.3947071804393901E-2</c:v>
                </c:pt>
                <c:pt idx="5">
                  <c:v>1.417013145223590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3">
                  <c:v>3.1969796729562065E-2</c:v>
                </c:pt>
                <c:pt idx="5">
                  <c:v>5.878313444398061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6.8249036883102588E-3</c:v>
                </c:pt>
                <c:pt idx="1">
                  <c:v>6.7696321444882471E-3</c:v>
                </c:pt>
                <c:pt idx="2">
                  <c:v>7.0038851582096717E-2</c:v>
                </c:pt>
                <c:pt idx="3">
                  <c:v>0.17627405389238998</c:v>
                </c:pt>
                <c:pt idx="4">
                  <c:v>0.20859101036899302</c:v>
                </c:pt>
                <c:pt idx="5">
                  <c:v>8.9460145637200117E-2</c:v>
                </c:pt>
                <c:pt idx="6">
                  <c:v>4.5435082633348821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260000000000002</c:v>
                </c:pt>
                <c:pt idx="2">
                  <c:v>0.20860000000000001</c:v>
                </c:pt>
                <c:pt idx="3">
                  <c:v>0.13139999999999999</c:v>
                </c:pt>
                <c:pt idx="4">
                  <c:v>0.25600000000000001</c:v>
                </c:pt>
                <c:pt idx="5">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855710781901685E-3</c:v>
                </c:pt>
                <c:pt idx="1">
                  <c:v>3.8204793375372754E-2</c:v>
                </c:pt>
                <c:pt idx="2">
                  <c:v>0.12798552630995078</c:v>
                </c:pt>
                <c:pt idx="3">
                  <c:v>0.25797642670071957</c:v>
                </c:pt>
                <c:pt idx="4">
                  <c:v>0.41160025563959868</c:v>
                </c:pt>
                <c:pt idx="5">
                  <c:v>0.15861101936594071</c:v>
                </c:pt>
                <c:pt idx="6">
                  <c:v>7.662678265158306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19920255996392E-8</c:v>
                </c:pt>
                <c:pt idx="1">
                  <c:v>1.136645505799227E-2</c:v>
                </c:pt>
                <c:pt idx="2">
                  <c:v>6.7252572360510217E-3</c:v>
                </c:pt>
                <c:pt idx="3">
                  <c:v>4.2368862226514767E-3</c:v>
                </c:pt>
                <c:pt idx="4">
                  <c:v>8.2538289571243706E-3</c:v>
                </c:pt>
                <c:pt idx="5">
                  <c:v>1.6439672359106917E-3</c:v>
                </c:pt>
                <c:pt idx="6">
                  <c:v>1.099665633622179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2.7612802279375755E-4</c:v>
                </c:pt>
                <c:pt idx="1">
                  <c:v>1.7080493835013619E-2</c:v>
                </c:pt>
                <c:pt idx="2">
                  <c:v>5.4463250658915281E-2</c:v>
                </c:pt>
                <c:pt idx="3">
                  <c:v>8.3948527854730975E-2</c:v>
                </c:pt>
                <c:pt idx="4">
                  <c:v>0.16225500403612425</c:v>
                </c:pt>
                <c:pt idx="5">
                  <c:v>7.7915990591168938E-2</c:v>
                </c:pt>
                <c:pt idx="6">
                  <c:v>6.932612458436772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0875936610695815E-6</c:v>
                </c:pt>
                <c:pt idx="1">
                  <c:v>6.1089782157859772E-5</c:v>
                </c:pt>
                <c:pt idx="2">
                  <c:v>6.1011258102854236E-3</c:v>
                </c:pt>
                <c:pt idx="3">
                  <c:v>8.9308936733929548E-3</c:v>
                </c:pt>
                <c:pt idx="4">
                  <c:v>2.8508604951157795E-2</c:v>
                </c:pt>
                <c:pt idx="5">
                  <c:v>1.6102999431494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0985942817882599E-3</c:v>
                </c:pt>
                <c:pt idx="2">
                  <c:v>1.0331118287193965E-2</c:v>
                </c:pt>
                <c:pt idx="3">
                  <c:v>2.2866555530310147E-2</c:v>
                </c:pt>
                <c:pt idx="4">
                  <c:v>1.4990139612260421E-2</c:v>
                </c:pt>
                <c:pt idx="5">
                  <c:v>1.73430042040699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5754771455266009E-3</c:v>
                </c:pt>
                <c:pt idx="1">
                  <c:v>7.5981604184207456E-3</c:v>
                </c:pt>
                <c:pt idx="2">
                  <c:v>5.0364774317505093E-2</c:v>
                </c:pt>
                <c:pt idx="3">
                  <c:v>0.13799356341963395</c:v>
                </c:pt>
                <c:pt idx="4">
                  <c:v>0.19759267808293185</c:v>
                </c:pt>
                <c:pt idx="5">
                  <c:v>7.5706461175304704E-2</c:v>
                </c:pt>
                <c:pt idx="6">
                  <c:v>6.20099243359315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45</c:v>
                </c:pt>
                <c:pt idx="2">
                  <c:v>0.21460000000000001</c:v>
                </c:pt>
                <c:pt idx="3">
                  <c:v>2.6700000000000002E-2</c:v>
                </c:pt>
                <c:pt idx="4">
                  <c:v>0.26690000000000003</c:v>
                </c:pt>
                <c:pt idx="5">
                  <c:v>5.65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3734167837544743E-3</c:v>
                </c:pt>
                <c:pt idx="1">
                  <c:v>4.0453124052177075E-2</c:v>
                </c:pt>
                <c:pt idx="2">
                  <c:v>0.12468065232928349</c:v>
                </c:pt>
                <c:pt idx="3">
                  <c:v>0.24066929757465194</c:v>
                </c:pt>
                <c:pt idx="4">
                  <c:v>0.4235016609865862</c:v>
                </c:pt>
                <c:pt idx="5">
                  <c:v>0.166092079765411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600378682627869E-7</c:v>
                </c:pt>
                <c:pt idx="1">
                  <c:v>1.7543291482773286E-2</c:v>
                </c:pt>
                <c:pt idx="2">
                  <c:v>8.6651828256586721E-3</c:v>
                </c:pt>
                <c:pt idx="3">
                  <c:v>1.0766128853804109E-3</c:v>
                </c:pt>
                <c:pt idx="4">
                  <c:v>1.0776193913363263E-2</c:v>
                </c:pt>
                <c:pt idx="5">
                  <c:v>2.279516032290979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0">
                  <c:v>3.340444332363107E-6</c:v>
                </c:pt>
                <c:pt idx="1">
                  <c:v>1.1515417946032995E-2</c:v>
                </c:pt>
                <c:pt idx="2">
                  <c:v>4.464303768055658E-2</c:v>
                </c:pt>
                <c:pt idx="3">
                  <c:v>6.8097682012543376E-2</c:v>
                </c:pt>
                <c:pt idx="4">
                  <c:v>0.15450111822069676</c:v>
                </c:pt>
                <c:pt idx="5">
                  <c:v>7.01548100503568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0">
                  <c:v>4.6893425197275038E-6</c:v>
                </c:pt>
                <c:pt idx="1">
                  <c:v>7.1870567468216954E-6</c:v>
                </c:pt>
                <c:pt idx="2">
                  <c:v>5.8300201187237114E-3</c:v>
                </c:pt>
                <c:pt idx="3">
                  <c:v>9.365979160556542E-3</c:v>
                </c:pt>
                <c:pt idx="4">
                  <c:v>2.8995553697662518E-2</c:v>
                </c:pt>
                <c:pt idx="5">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2.2930487407266894E-3</c:v>
                </c:pt>
                <c:pt idx="2">
                  <c:v>6.7667782330022063E-3</c:v>
                </c:pt>
                <c:pt idx="3">
                  <c:v>6.7024789860080569E-3</c:v>
                </c:pt>
                <c:pt idx="4">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4.3652809931155577E-3</c:v>
                </c:pt>
                <c:pt idx="1">
                  <c:v>9.094178825897286E-3</c:v>
                </c:pt>
                <c:pt idx="2">
                  <c:v>5.8775633471342313E-2</c:v>
                </c:pt>
                <c:pt idx="3">
                  <c:v>0.15542654453016352</c:v>
                </c:pt>
                <c:pt idx="4">
                  <c:v>0.20397198309313802</c:v>
                </c:pt>
                <c:pt idx="5">
                  <c:v>9.22694432874572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3450000000000002</c:v>
                </c:pt>
                <c:pt idx="2">
                  <c:v>0.21790000000000001</c:v>
                </c:pt>
                <c:pt idx="3">
                  <c:v>9.3799999999999994E-2</c:v>
                </c:pt>
                <c:pt idx="4">
                  <c:v>0.33350000000000002</c:v>
                </c:pt>
                <c:pt idx="5">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985882001645663E-3</c:v>
                </c:pt>
                <c:pt idx="1">
                  <c:v>3.612754162937E-2</c:v>
                </c:pt>
                <c:pt idx="2">
                  <c:v>0.13719498356475082</c:v>
                </c:pt>
                <c:pt idx="3">
                  <c:v>0.26555439280971788</c:v>
                </c:pt>
                <c:pt idx="4">
                  <c:v>0.40371945019499322</c:v>
                </c:pt>
                <c:pt idx="5">
                  <c:v>0.14488401371549256</c:v>
                </c:pt>
                <c:pt idx="6">
                  <c:v>5.221029885510939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1">
                  <c:v>1.3121746185543237E-2</c:v>
                </c:pt>
                <c:pt idx="2">
                  <c:v>8.5479273038382708E-3</c:v>
                </c:pt>
                <c:pt idx="3">
                  <c:v>3.6816609117870176E-3</c:v>
                </c:pt>
                <c:pt idx="4">
                  <c:v>1.3084418862957645E-2</c:v>
                </c:pt>
                <c:pt idx="5">
                  <c:v>7.978908700859749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C$2:$C$8</c:f>
              <c:numCache>
                <c:formatCode>General</c:formatCode>
                <c:ptCount val="7"/>
                <c:pt idx="1">
                  <c:v>1.5766190709648062E-2</c:v>
                </c:pt>
                <c:pt idx="2">
                  <c:v>4.6119744635056595E-2</c:v>
                </c:pt>
                <c:pt idx="3">
                  <c:v>6.1214547937937978E-2</c:v>
                </c:pt>
                <c:pt idx="4">
                  <c:v>0.13355392683477083</c:v>
                </c:pt>
                <c:pt idx="5">
                  <c:v>6.8513461388991295E-2</c:v>
                </c:pt>
                <c:pt idx="6">
                  <c:v>5.1724405334886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D$2:$D$8</c:f>
              <c:numCache>
                <c:formatCode>General</c:formatCode>
                <c:ptCount val="7"/>
                <c:pt idx="2">
                  <c:v>7.6261071485899693E-3</c:v>
                </c:pt>
                <c:pt idx="3">
                  <c:v>1.2155817139713386E-2</c:v>
                </c:pt>
                <c:pt idx="4">
                  <c:v>3.6303801521430083E-2</c:v>
                </c:pt>
                <c:pt idx="5">
                  <c:v>1.515387373434551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E$2:$E$8</c:f>
              <c:numCache>
                <c:formatCode>General</c:formatCode>
                <c:ptCount val="7"/>
                <c:pt idx="1">
                  <c:v>3.2753668938297143E-3</c:v>
                </c:pt>
                <c:pt idx="2">
                  <c:v>1.451990409426184E-2</c:v>
                </c:pt>
                <c:pt idx="3">
                  <c:v>2.8348763105047508E-2</c:v>
                </c:pt>
                <c:pt idx="4">
                  <c:v>2.0134310145586976E-2</c:v>
                </c:pt>
                <c:pt idx="5">
                  <c:v>2.037926406893721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F$2:$F$8</c:f>
              <c:numCache>
                <c:formatCode>General</c:formatCode>
                <c:ptCount val="7"/>
                <c:pt idx="0">
                  <c:v>7.2985882001645663E-3</c:v>
                </c:pt>
                <c:pt idx="1">
                  <c:v>3.9642378403489872E-3</c:v>
                </c:pt>
                <c:pt idx="2">
                  <c:v>6.0381300383004141E-2</c:v>
                </c:pt>
                <c:pt idx="3">
                  <c:v>0.16015360371523202</c:v>
                </c:pt>
                <c:pt idx="4">
                  <c:v>0.20064299283024767</c:v>
                </c:pt>
                <c:pt idx="5">
                  <c:v>7.2019347676087003E-2</c:v>
                </c:pt>
                <c:pt idx="6">
                  <c:v>4.858935202232593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493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10816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6960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73291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39482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33842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277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0520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26256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90713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570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92248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6250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5281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4052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9483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812239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64768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70262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39701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854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99310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7953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97278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61954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03304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591996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28706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346941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814733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287268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13099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561622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93706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119813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92812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456746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44557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61635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171507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588105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375577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5201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00190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570857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811736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3182992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10487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782222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644746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502473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37378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838392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664715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76213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884839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74411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53539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700745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778224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041996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124113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9775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959029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61377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8188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979784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226572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149906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698449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71026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334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252949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924361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087372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635527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5260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09443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232136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47685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81260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6191</Words>
  <Application>Microsoft Office PowerPoint</Application>
  <PresentationFormat>On-screen Show (16:9)</PresentationFormat>
  <Paragraphs>2026</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